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Lst>
  <p:notesMasterIdLst>
    <p:notesMasterId r:id="rId76"/>
  </p:notesMasterIdLst>
  <p:handoutMasterIdLst>
    <p:handoutMasterId r:id="rId77"/>
  </p:handoutMasterIdLst>
  <p:sldIdLst>
    <p:sldId id="312" r:id="rId4"/>
    <p:sldId id="371" r:id="rId5"/>
    <p:sldId id="365" r:id="rId6"/>
    <p:sldId id="379" r:id="rId7"/>
    <p:sldId id="304" r:id="rId8"/>
    <p:sldId id="306" r:id="rId9"/>
    <p:sldId id="414" r:id="rId10"/>
    <p:sldId id="258" r:id="rId11"/>
    <p:sldId id="259" r:id="rId12"/>
    <p:sldId id="332" r:id="rId13"/>
    <p:sldId id="262" r:id="rId14"/>
    <p:sldId id="280" r:id="rId15"/>
    <p:sldId id="415" r:id="rId16"/>
    <p:sldId id="281" r:id="rId17"/>
    <p:sldId id="376" r:id="rId18"/>
    <p:sldId id="282" r:id="rId19"/>
    <p:sldId id="283" r:id="rId20"/>
    <p:sldId id="284" r:id="rId21"/>
    <p:sldId id="286" r:id="rId22"/>
    <p:sldId id="322" r:id="rId23"/>
    <p:sldId id="348" r:id="rId24"/>
    <p:sldId id="347" r:id="rId25"/>
    <p:sldId id="309" r:id="rId26"/>
    <p:sldId id="310" r:id="rId27"/>
    <p:sldId id="366" r:id="rId28"/>
    <p:sldId id="295" r:id="rId29"/>
    <p:sldId id="297" r:id="rId30"/>
    <p:sldId id="343" r:id="rId31"/>
    <p:sldId id="344" r:id="rId32"/>
    <p:sldId id="298" r:id="rId33"/>
    <p:sldId id="299" r:id="rId34"/>
    <p:sldId id="345" r:id="rId35"/>
    <p:sldId id="416" r:id="rId36"/>
    <p:sldId id="369" r:id="rId37"/>
    <p:sldId id="300" r:id="rId38"/>
    <p:sldId id="301" r:id="rId39"/>
    <p:sldId id="269" r:id="rId40"/>
    <p:sldId id="268" r:id="rId41"/>
    <p:sldId id="357" r:id="rId42"/>
    <p:sldId id="356" r:id="rId43"/>
    <p:sldId id="424" r:id="rId44"/>
    <p:sldId id="425" r:id="rId45"/>
    <p:sldId id="328" r:id="rId46"/>
    <p:sldId id="417" r:id="rId47"/>
    <p:sldId id="418" r:id="rId48"/>
    <p:sldId id="422" r:id="rId49"/>
    <p:sldId id="359" r:id="rId50"/>
    <p:sldId id="358" r:id="rId51"/>
    <p:sldId id="318" r:id="rId52"/>
    <p:sldId id="380" r:id="rId53"/>
    <p:sldId id="355" r:id="rId54"/>
    <p:sldId id="395" r:id="rId55"/>
    <p:sldId id="353" r:id="rId56"/>
    <p:sldId id="354" r:id="rId57"/>
    <p:sldId id="327" r:id="rId58"/>
    <p:sldId id="397" r:id="rId59"/>
    <p:sldId id="398" r:id="rId60"/>
    <p:sldId id="426" r:id="rId61"/>
    <p:sldId id="427" r:id="rId62"/>
    <p:sldId id="399" r:id="rId63"/>
    <p:sldId id="400" r:id="rId64"/>
    <p:sldId id="401" r:id="rId65"/>
    <p:sldId id="407" r:id="rId66"/>
    <p:sldId id="408" r:id="rId67"/>
    <p:sldId id="428" r:id="rId68"/>
    <p:sldId id="409" r:id="rId69"/>
    <p:sldId id="410" r:id="rId70"/>
    <p:sldId id="411" r:id="rId71"/>
    <p:sldId id="412" r:id="rId72"/>
    <p:sldId id="429" r:id="rId73"/>
    <p:sldId id="430" r:id="rId74"/>
    <p:sldId id="431" r:id="rId75"/>
  </p:sldIdLst>
  <p:sldSz cx="9144000" cy="6858000" type="screen4x3"/>
  <p:notesSz cx="7010400" cy="9236075"/>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595" autoAdjust="0"/>
  </p:normalViewPr>
  <p:slideViewPr>
    <p:cSldViewPr snapToGrid="0">
      <p:cViewPr varScale="1">
        <p:scale>
          <a:sx n="104" d="100"/>
          <a:sy n="104" d="100"/>
        </p:scale>
        <p:origin x="1140" y="10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596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notesMaster" Target="notesMasters/notesMaster1.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oleObject" Target="file:///C:\giswr2013\Ex5\Profile.txt"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Blanco</a:t>
            </a:r>
            <a:r>
              <a:rPr lang="en-US" baseline="0"/>
              <a:t> River Elevation Profile</a:t>
            </a:r>
            <a:endParaRPr lang="en-US"/>
          </a:p>
        </c:rich>
      </c:tx>
      <c:layout/>
      <c:overlay val="0"/>
    </c:title>
    <c:autoTitleDeleted val="0"/>
    <c:plotArea>
      <c:layout>
        <c:manualLayout>
          <c:layoutTarget val="inner"/>
          <c:xMode val="edge"/>
          <c:yMode val="edge"/>
          <c:x val="0.15886351706036744"/>
          <c:y val="0.19480351414406533"/>
          <c:w val="0.78221981627296588"/>
          <c:h val="0.59104512977544477"/>
        </c:manualLayout>
      </c:layout>
      <c:scatterChart>
        <c:scatterStyle val="lineMarker"/>
        <c:varyColors val="0"/>
        <c:ser>
          <c:idx val="0"/>
          <c:order val="0"/>
          <c:tx>
            <c:strRef>
              <c:f>Profile!$G$1</c:f>
              <c:strCache>
                <c:ptCount val="1"/>
                <c:pt idx="0">
                  <c:v>POINT_Z</c:v>
                </c:pt>
              </c:strCache>
            </c:strRef>
          </c:tx>
          <c:spPr>
            <a:ln w="28575">
              <a:solidFill>
                <a:schemeClr val="accent1"/>
              </a:solidFill>
            </a:ln>
          </c:spPr>
          <c:marker>
            <c:symbol val="none"/>
          </c:marker>
          <c:xVal>
            <c:numRef>
              <c:f>Profile!$D$2:$D$1095</c:f>
              <c:numCache>
                <c:formatCode>General</c:formatCode>
                <c:ptCount val="1094"/>
                <c:pt idx="0">
                  <c:v>0</c:v>
                </c:pt>
                <c:pt idx="1">
                  <c:v>167.281499999999</c:v>
                </c:pt>
                <c:pt idx="2">
                  <c:v>213.7122</c:v>
                </c:pt>
                <c:pt idx="3">
                  <c:v>307.83330000000001</c:v>
                </c:pt>
                <c:pt idx="4">
                  <c:v>472.04070000000002</c:v>
                </c:pt>
                <c:pt idx="5">
                  <c:v>544.86739999999895</c:v>
                </c:pt>
                <c:pt idx="6">
                  <c:v>715.79899999999895</c:v>
                </c:pt>
                <c:pt idx="7">
                  <c:v>778.79349999999897</c:v>
                </c:pt>
                <c:pt idx="8">
                  <c:v>818.13070000000005</c:v>
                </c:pt>
                <c:pt idx="9">
                  <c:v>860.35559999999896</c:v>
                </c:pt>
                <c:pt idx="10">
                  <c:v>966.51670000000001</c:v>
                </c:pt>
                <c:pt idx="11">
                  <c:v>1014.0317</c:v>
                </c:pt>
                <c:pt idx="12">
                  <c:v>1061.4174</c:v>
                </c:pt>
                <c:pt idx="13">
                  <c:v>1228.9095</c:v>
                </c:pt>
                <c:pt idx="14">
                  <c:v>1283.7608</c:v>
                </c:pt>
                <c:pt idx="15">
                  <c:v>1317.3616999999899</c:v>
                </c:pt>
                <c:pt idx="16">
                  <c:v>1397.4645</c:v>
                </c:pt>
                <c:pt idx="17">
                  <c:v>1471.3851</c:v>
                </c:pt>
                <c:pt idx="18">
                  <c:v>1539.2215000000001</c:v>
                </c:pt>
                <c:pt idx="19">
                  <c:v>1610.9953</c:v>
                </c:pt>
                <c:pt idx="20">
                  <c:v>1690.1705999999899</c:v>
                </c:pt>
                <c:pt idx="21">
                  <c:v>1736.2950000000001</c:v>
                </c:pt>
                <c:pt idx="22">
                  <c:v>1771.8091999999899</c:v>
                </c:pt>
                <c:pt idx="23">
                  <c:v>1796.7663</c:v>
                </c:pt>
                <c:pt idx="24">
                  <c:v>1993.4159999999899</c:v>
                </c:pt>
                <c:pt idx="25">
                  <c:v>2039.385</c:v>
                </c:pt>
                <c:pt idx="26">
                  <c:v>2077.0875000000001</c:v>
                </c:pt>
                <c:pt idx="27">
                  <c:v>2112.596</c:v>
                </c:pt>
                <c:pt idx="28">
                  <c:v>2169.7899000000002</c:v>
                </c:pt>
                <c:pt idx="29">
                  <c:v>2234.3177999999898</c:v>
                </c:pt>
                <c:pt idx="30">
                  <c:v>2267.2982000000002</c:v>
                </c:pt>
                <c:pt idx="31">
                  <c:v>2386.0038</c:v>
                </c:pt>
                <c:pt idx="32">
                  <c:v>2428.4856</c:v>
                </c:pt>
                <c:pt idx="33">
                  <c:v>2469.3096</c:v>
                </c:pt>
                <c:pt idx="34">
                  <c:v>2610.9787999999899</c:v>
                </c:pt>
                <c:pt idx="35">
                  <c:v>2679.6806999999899</c:v>
                </c:pt>
                <c:pt idx="36">
                  <c:v>2718.1390999999899</c:v>
                </c:pt>
                <c:pt idx="37">
                  <c:v>2766.9148</c:v>
                </c:pt>
                <c:pt idx="38">
                  <c:v>2827.3166000000001</c:v>
                </c:pt>
                <c:pt idx="39">
                  <c:v>2880.2478000000001</c:v>
                </c:pt>
                <c:pt idx="40">
                  <c:v>2959.5385999999899</c:v>
                </c:pt>
                <c:pt idx="41">
                  <c:v>3200.252</c:v>
                </c:pt>
                <c:pt idx="42">
                  <c:v>3279.7175999999899</c:v>
                </c:pt>
                <c:pt idx="43">
                  <c:v>3332.2745</c:v>
                </c:pt>
                <c:pt idx="44">
                  <c:v>3409.0798</c:v>
                </c:pt>
                <c:pt idx="45">
                  <c:v>3475.7577999999899</c:v>
                </c:pt>
                <c:pt idx="46">
                  <c:v>3575.6549</c:v>
                </c:pt>
                <c:pt idx="47">
                  <c:v>3727.6678999999899</c:v>
                </c:pt>
                <c:pt idx="48">
                  <c:v>3910.0001999999899</c:v>
                </c:pt>
                <c:pt idx="49">
                  <c:v>3999.2728999999899</c:v>
                </c:pt>
                <c:pt idx="50">
                  <c:v>4105.3873000000003</c:v>
                </c:pt>
                <c:pt idx="51">
                  <c:v>4270.4102999999895</c:v>
                </c:pt>
                <c:pt idx="52">
                  <c:v>4405.7651999999898</c:v>
                </c:pt>
                <c:pt idx="53">
                  <c:v>4537.8346000000001</c:v>
                </c:pt>
                <c:pt idx="54">
                  <c:v>4590.4032999999899</c:v>
                </c:pt>
                <c:pt idx="55">
                  <c:v>4654.1107000000002</c:v>
                </c:pt>
                <c:pt idx="56">
                  <c:v>4777.2897000000003</c:v>
                </c:pt>
                <c:pt idx="57">
                  <c:v>4998.5971</c:v>
                </c:pt>
                <c:pt idx="58">
                  <c:v>5099.3406999999897</c:v>
                </c:pt>
                <c:pt idx="59">
                  <c:v>5151.4101000000001</c:v>
                </c:pt>
                <c:pt idx="60">
                  <c:v>5268.4089000000004</c:v>
                </c:pt>
                <c:pt idx="61">
                  <c:v>5295.5432000000001</c:v>
                </c:pt>
                <c:pt idx="62">
                  <c:v>5399.1665999999896</c:v>
                </c:pt>
                <c:pt idx="63">
                  <c:v>5474.3158999999896</c:v>
                </c:pt>
                <c:pt idx="64">
                  <c:v>5495.5011000000004</c:v>
                </c:pt>
                <c:pt idx="65">
                  <c:v>5573.8392000000003</c:v>
                </c:pt>
                <c:pt idx="66">
                  <c:v>5720.6093000000001</c:v>
                </c:pt>
                <c:pt idx="67">
                  <c:v>5797.2339000000002</c:v>
                </c:pt>
                <c:pt idx="68">
                  <c:v>5939.2003999999897</c:v>
                </c:pt>
                <c:pt idx="69">
                  <c:v>5998.3203000000003</c:v>
                </c:pt>
                <c:pt idx="70">
                  <c:v>6100.8467000000001</c:v>
                </c:pt>
                <c:pt idx="71">
                  <c:v>6167.0765000000001</c:v>
                </c:pt>
                <c:pt idx="72">
                  <c:v>6544.5019000000002</c:v>
                </c:pt>
                <c:pt idx="73">
                  <c:v>6597.4156000000003</c:v>
                </c:pt>
                <c:pt idx="74">
                  <c:v>6651.3927000000003</c:v>
                </c:pt>
                <c:pt idx="75">
                  <c:v>6788.9196000000002</c:v>
                </c:pt>
                <c:pt idx="76">
                  <c:v>6869.0262000000002</c:v>
                </c:pt>
                <c:pt idx="77">
                  <c:v>6909.9299000000001</c:v>
                </c:pt>
                <c:pt idx="78">
                  <c:v>7015.5240000000003</c:v>
                </c:pt>
                <c:pt idx="79">
                  <c:v>7046.3212999999896</c:v>
                </c:pt>
                <c:pt idx="80">
                  <c:v>7217.3986000000004</c:v>
                </c:pt>
                <c:pt idx="81">
                  <c:v>7309.3510999999899</c:v>
                </c:pt>
                <c:pt idx="82">
                  <c:v>7335.6323000000002</c:v>
                </c:pt>
                <c:pt idx="83">
                  <c:v>7406.0753999999897</c:v>
                </c:pt>
                <c:pt idx="84">
                  <c:v>7462.5938999999898</c:v>
                </c:pt>
                <c:pt idx="85">
                  <c:v>7577.4319999999898</c:v>
                </c:pt>
                <c:pt idx="86">
                  <c:v>7637.9393</c:v>
                </c:pt>
                <c:pt idx="87">
                  <c:v>7731.9246999999896</c:v>
                </c:pt>
                <c:pt idx="88">
                  <c:v>7846.3833999999897</c:v>
                </c:pt>
                <c:pt idx="89">
                  <c:v>8059.0153</c:v>
                </c:pt>
                <c:pt idx="90">
                  <c:v>8126.8002999999899</c:v>
                </c:pt>
                <c:pt idx="91">
                  <c:v>8224.1139000000003</c:v>
                </c:pt>
                <c:pt idx="92">
                  <c:v>8280.3348000000005</c:v>
                </c:pt>
                <c:pt idx="93">
                  <c:v>8307.0483999999906</c:v>
                </c:pt>
                <c:pt idx="94">
                  <c:v>8380.9730999999902</c:v>
                </c:pt>
                <c:pt idx="95">
                  <c:v>8419.7687000000005</c:v>
                </c:pt>
                <c:pt idx="96">
                  <c:v>8453.3233999999902</c:v>
                </c:pt>
                <c:pt idx="97">
                  <c:v>8501.7535000000007</c:v>
                </c:pt>
                <c:pt idx="98">
                  <c:v>8538.8809000000001</c:v>
                </c:pt>
                <c:pt idx="99">
                  <c:v>8790.6560000000009</c:v>
                </c:pt>
                <c:pt idx="100">
                  <c:v>8889.5792000000001</c:v>
                </c:pt>
                <c:pt idx="101">
                  <c:v>8985.2873</c:v>
                </c:pt>
                <c:pt idx="102">
                  <c:v>9068.4611999999906</c:v>
                </c:pt>
                <c:pt idx="103">
                  <c:v>9225.4115000000002</c:v>
                </c:pt>
                <c:pt idx="104">
                  <c:v>9459.1234999999906</c:v>
                </c:pt>
                <c:pt idx="105">
                  <c:v>9603.1221999999907</c:v>
                </c:pt>
                <c:pt idx="106">
                  <c:v>9726.3752999999906</c:v>
                </c:pt>
                <c:pt idx="107">
                  <c:v>9839.7728000000006</c:v>
                </c:pt>
                <c:pt idx="108">
                  <c:v>10018.492</c:v>
                </c:pt>
                <c:pt idx="109">
                  <c:v>10113.2531</c:v>
                </c:pt>
                <c:pt idx="110">
                  <c:v>10246.143099999899</c:v>
                </c:pt>
                <c:pt idx="111">
                  <c:v>10407.5838</c:v>
                </c:pt>
                <c:pt idx="112">
                  <c:v>11094.1828</c:v>
                </c:pt>
                <c:pt idx="113">
                  <c:v>11179.348900000001</c:v>
                </c:pt>
                <c:pt idx="114">
                  <c:v>11230.021699999899</c:v>
                </c:pt>
                <c:pt idx="115">
                  <c:v>11321.8938</c:v>
                </c:pt>
                <c:pt idx="116">
                  <c:v>11563.420099999899</c:v>
                </c:pt>
                <c:pt idx="117">
                  <c:v>11608.526</c:v>
                </c:pt>
                <c:pt idx="118">
                  <c:v>11688.1502</c:v>
                </c:pt>
                <c:pt idx="119">
                  <c:v>11892.5383</c:v>
                </c:pt>
                <c:pt idx="120">
                  <c:v>11966.325699999899</c:v>
                </c:pt>
                <c:pt idx="121">
                  <c:v>12019.454900000001</c:v>
                </c:pt>
                <c:pt idx="122">
                  <c:v>12079.838900000001</c:v>
                </c:pt>
                <c:pt idx="123">
                  <c:v>12141.5357</c:v>
                </c:pt>
                <c:pt idx="124">
                  <c:v>12341.1895</c:v>
                </c:pt>
                <c:pt idx="125">
                  <c:v>12384.575199999899</c:v>
                </c:pt>
                <c:pt idx="126">
                  <c:v>12451.6922</c:v>
                </c:pt>
                <c:pt idx="127">
                  <c:v>12508.0425</c:v>
                </c:pt>
                <c:pt idx="128">
                  <c:v>12614.6816</c:v>
                </c:pt>
                <c:pt idx="129">
                  <c:v>12698.786099999899</c:v>
                </c:pt>
                <c:pt idx="130">
                  <c:v>12863.553099999899</c:v>
                </c:pt>
                <c:pt idx="131">
                  <c:v>12985.1705</c:v>
                </c:pt>
                <c:pt idx="132">
                  <c:v>13076.1407</c:v>
                </c:pt>
                <c:pt idx="133">
                  <c:v>13187.572899999899</c:v>
                </c:pt>
                <c:pt idx="134">
                  <c:v>13318.108700000001</c:v>
                </c:pt>
                <c:pt idx="135">
                  <c:v>13424.755300000001</c:v>
                </c:pt>
                <c:pt idx="136">
                  <c:v>13536.5093</c:v>
                </c:pt>
                <c:pt idx="137">
                  <c:v>13707.452600000001</c:v>
                </c:pt>
                <c:pt idx="138">
                  <c:v>13804.479300000001</c:v>
                </c:pt>
                <c:pt idx="139">
                  <c:v>13828.6885</c:v>
                </c:pt>
                <c:pt idx="140">
                  <c:v>13942.034</c:v>
                </c:pt>
                <c:pt idx="141">
                  <c:v>14097.725899999899</c:v>
                </c:pt>
                <c:pt idx="142">
                  <c:v>14432.3017</c:v>
                </c:pt>
                <c:pt idx="143">
                  <c:v>14501.307500000001</c:v>
                </c:pt>
                <c:pt idx="144">
                  <c:v>14601.576499999899</c:v>
                </c:pt>
                <c:pt idx="145">
                  <c:v>14738.1782</c:v>
                </c:pt>
                <c:pt idx="146">
                  <c:v>14788.6594</c:v>
                </c:pt>
                <c:pt idx="147">
                  <c:v>14887.025299999899</c:v>
                </c:pt>
                <c:pt idx="148">
                  <c:v>14956.7984</c:v>
                </c:pt>
                <c:pt idx="149">
                  <c:v>15033.0967</c:v>
                </c:pt>
                <c:pt idx="150">
                  <c:v>15090.956</c:v>
                </c:pt>
                <c:pt idx="151">
                  <c:v>15203.5455</c:v>
                </c:pt>
                <c:pt idx="152">
                  <c:v>15303.4378</c:v>
                </c:pt>
                <c:pt idx="153">
                  <c:v>15345.4632</c:v>
                </c:pt>
                <c:pt idx="154">
                  <c:v>15366.7109</c:v>
                </c:pt>
                <c:pt idx="155">
                  <c:v>15498.7808</c:v>
                </c:pt>
                <c:pt idx="156">
                  <c:v>15576.7978</c:v>
                </c:pt>
                <c:pt idx="157">
                  <c:v>15727.191999999901</c:v>
                </c:pt>
                <c:pt idx="158">
                  <c:v>15962.0226</c:v>
                </c:pt>
                <c:pt idx="159">
                  <c:v>16073.7942</c:v>
                </c:pt>
                <c:pt idx="160">
                  <c:v>16253.9256</c:v>
                </c:pt>
                <c:pt idx="161">
                  <c:v>16355.809499999899</c:v>
                </c:pt>
                <c:pt idx="162">
                  <c:v>16453.804899999901</c:v>
                </c:pt>
                <c:pt idx="163">
                  <c:v>16765.507600000001</c:v>
                </c:pt>
                <c:pt idx="164">
                  <c:v>16832.6411999999</c:v>
                </c:pt>
                <c:pt idx="165">
                  <c:v>16891.432400000002</c:v>
                </c:pt>
                <c:pt idx="166">
                  <c:v>17019.627100000002</c:v>
                </c:pt>
                <c:pt idx="167">
                  <c:v>17309.3990999999</c:v>
                </c:pt>
                <c:pt idx="168">
                  <c:v>17568.736700000001</c:v>
                </c:pt>
                <c:pt idx="169">
                  <c:v>17804.679100000001</c:v>
                </c:pt>
                <c:pt idx="170">
                  <c:v>18110.919399999901</c:v>
                </c:pt>
                <c:pt idx="171">
                  <c:v>18371.040499999901</c:v>
                </c:pt>
                <c:pt idx="172">
                  <c:v>18486.957200000001</c:v>
                </c:pt>
                <c:pt idx="173">
                  <c:v>18613.468499999901</c:v>
                </c:pt>
                <c:pt idx="174">
                  <c:v>18654.6673999999</c:v>
                </c:pt>
                <c:pt idx="175">
                  <c:v>18713.159500000002</c:v>
                </c:pt>
                <c:pt idx="176">
                  <c:v>18828.419000000002</c:v>
                </c:pt>
                <c:pt idx="177">
                  <c:v>18953.242399999901</c:v>
                </c:pt>
                <c:pt idx="178">
                  <c:v>19000.736199999901</c:v>
                </c:pt>
                <c:pt idx="179">
                  <c:v>19110.9048</c:v>
                </c:pt>
                <c:pt idx="180">
                  <c:v>19231.6515</c:v>
                </c:pt>
                <c:pt idx="181">
                  <c:v>19285.780699999901</c:v>
                </c:pt>
                <c:pt idx="182">
                  <c:v>19333.107</c:v>
                </c:pt>
                <c:pt idx="183">
                  <c:v>19400.206099999901</c:v>
                </c:pt>
                <c:pt idx="184">
                  <c:v>19518.454900000001</c:v>
                </c:pt>
                <c:pt idx="185">
                  <c:v>19748.474699999901</c:v>
                </c:pt>
                <c:pt idx="186">
                  <c:v>19926.2143</c:v>
                </c:pt>
                <c:pt idx="187">
                  <c:v>20053.3767999999</c:v>
                </c:pt>
                <c:pt idx="188">
                  <c:v>20163.847900000001</c:v>
                </c:pt>
                <c:pt idx="189">
                  <c:v>20231.7454</c:v>
                </c:pt>
                <c:pt idx="190">
                  <c:v>20273.957399999901</c:v>
                </c:pt>
                <c:pt idx="191">
                  <c:v>20295.1482</c:v>
                </c:pt>
                <c:pt idx="192">
                  <c:v>20496.518</c:v>
                </c:pt>
                <c:pt idx="193">
                  <c:v>20579.0978</c:v>
                </c:pt>
                <c:pt idx="194">
                  <c:v>20675.1217</c:v>
                </c:pt>
                <c:pt idx="195">
                  <c:v>20826.452600000001</c:v>
                </c:pt>
                <c:pt idx="196">
                  <c:v>20920.5289999999</c:v>
                </c:pt>
                <c:pt idx="197">
                  <c:v>21078.369999999901</c:v>
                </c:pt>
                <c:pt idx="198">
                  <c:v>21264.3894</c:v>
                </c:pt>
                <c:pt idx="199">
                  <c:v>21357.741300000002</c:v>
                </c:pt>
                <c:pt idx="200">
                  <c:v>21499.0760999999</c:v>
                </c:pt>
                <c:pt idx="201">
                  <c:v>21577.1093</c:v>
                </c:pt>
                <c:pt idx="202">
                  <c:v>21686.4615999999</c:v>
                </c:pt>
                <c:pt idx="203">
                  <c:v>21773.9221</c:v>
                </c:pt>
                <c:pt idx="204">
                  <c:v>21874.2791</c:v>
                </c:pt>
                <c:pt idx="205">
                  <c:v>22114.2235</c:v>
                </c:pt>
                <c:pt idx="206">
                  <c:v>22252.9352</c:v>
                </c:pt>
                <c:pt idx="207">
                  <c:v>22382.051100000001</c:v>
                </c:pt>
                <c:pt idx="208">
                  <c:v>22429.4889</c:v>
                </c:pt>
                <c:pt idx="209">
                  <c:v>22591.7553999999</c:v>
                </c:pt>
                <c:pt idx="210">
                  <c:v>22665.240900000001</c:v>
                </c:pt>
                <c:pt idx="211">
                  <c:v>22808.5818</c:v>
                </c:pt>
                <c:pt idx="212">
                  <c:v>22875.667000000001</c:v>
                </c:pt>
                <c:pt idx="213">
                  <c:v>22923.5577999999</c:v>
                </c:pt>
                <c:pt idx="214">
                  <c:v>23052.985700000001</c:v>
                </c:pt>
                <c:pt idx="215">
                  <c:v>23149.1434999999</c:v>
                </c:pt>
                <c:pt idx="216">
                  <c:v>23224.0471</c:v>
                </c:pt>
                <c:pt idx="217">
                  <c:v>23439.3969</c:v>
                </c:pt>
                <c:pt idx="218">
                  <c:v>23709.557100000002</c:v>
                </c:pt>
                <c:pt idx="219">
                  <c:v>23852.639500000001</c:v>
                </c:pt>
                <c:pt idx="220">
                  <c:v>23915.0452</c:v>
                </c:pt>
                <c:pt idx="221">
                  <c:v>23990.301200000002</c:v>
                </c:pt>
                <c:pt idx="222">
                  <c:v>24137.047699999901</c:v>
                </c:pt>
                <c:pt idx="223">
                  <c:v>24176.984</c:v>
                </c:pt>
                <c:pt idx="224">
                  <c:v>24337.240900000001</c:v>
                </c:pt>
                <c:pt idx="225">
                  <c:v>24451.534800000001</c:v>
                </c:pt>
                <c:pt idx="226">
                  <c:v>24567.8256</c:v>
                </c:pt>
                <c:pt idx="227">
                  <c:v>24695.0376</c:v>
                </c:pt>
                <c:pt idx="228">
                  <c:v>24782.2488999999</c:v>
                </c:pt>
                <c:pt idx="229">
                  <c:v>24869.629799999901</c:v>
                </c:pt>
                <c:pt idx="230">
                  <c:v>24933.119600000002</c:v>
                </c:pt>
                <c:pt idx="231">
                  <c:v>25051.233700000001</c:v>
                </c:pt>
                <c:pt idx="232">
                  <c:v>25215.313200000001</c:v>
                </c:pt>
                <c:pt idx="233">
                  <c:v>25260.213899999901</c:v>
                </c:pt>
                <c:pt idx="234">
                  <c:v>25331.000899999901</c:v>
                </c:pt>
                <c:pt idx="235">
                  <c:v>25451.4016999999</c:v>
                </c:pt>
                <c:pt idx="236">
                  <c:v>25528.4052999999</c:v>
                </c:pt>
                <c:pt idx="237">
                  <c:v>25685.7321999999</c:v>
                </c:pt>
                <c:pt idx="238">
                  <c:v>25779.091700000001</c:v>
                </c:pt>
                <c:pt idx="239">
                  <c:v>25917.7997</c:v>
                </c:pt>
                <c:pt idx="240">
                  <c:v>25966.719300000001</c:v>
                </c:pt>
                <c:pt idx="241">
                  <c:v>26139.381000000001</c:v>
                </c:pt>
                <c:pt idx="242">
                  <c:v>26226.1470999999</c:v>
                </c:pt>
                <c:pt idx="243">
                  <c:v>26355.2222</c:v>
                </c:pt>
                <c:pt idx="244">
                  <c:v>26440.8979</c:v>
                </c:pt>
                <c:pt idx="245">
                  <c:v>26580.6198</c:v>
                </c:pt>
                <c:pt idx="246">
                  <c:v>26740.9555</c:v>
                </c:pt>
                <c:pt idx="247">
                  <c:v>26812.842000000001</c:v>
                </c:pt>
                <c:pt idx="248">
                  <c:v>26912.7605</c:v>
                </c:pt>
                <c:pt idx="249">
                  <c:v>26970.4254</c:v>
                </c:pt>
                <c:pt idx="250">
                  <c:v>27050.539000000001</c:v>
                </c:pt>
                <c:pt idx="251">
                  <c:v>27128.071800000002</c:v>
                </c:pt>
                <c:pt idx="252">
                  <c:v>27313.721000000001</c:v>
                </c:pt>
                <c:pt idx="253">
                  <c:v>27434.5809999999</c:v>
                </c:pt>
                <c:pt idx="254">
                  <c:v>27551.1345</c:v>
                </c:pt>
                <c:pt idx="255">
                  <c:v>27721.891299999901</c:v>
                </c:pt>
                <c:pt idx="256">
                  <c:v>27748.1709999999</c:v>
                </c:pt>
                <c:pt idx="257">
                  <c:v>27824.5292999999</c:v>
                </c:pt>
                <c:pt idx="258">
                  <c:v>27888.9542</c:v>
                </c:pt>
                <c:pt idx="259">
                  <c:v>27948.4588</c:v>
                </c:pt>
                <c:pt idx="260">
                  <c:v>28201.3329999999</c:v>
                </c:pt>
                <c:pt idx="261">
                  <c:v>28258.394100000001</c:v>
                </c:pt>
                <c:pt idx="262">
                  <c:v>28328.200199999901</c:v>
                </c:pt>
                <c:pt idx="263">
                  <c:v>28437.777300000002</c:v>
                </c:pt>
                <c:pt idx="264">
                  <c:v>28517.227699999901</c:v>
                </c:pt>
                <c:pt idx="265">
                  <c:v>28576.731800000001</c:v>
                </c:pt>
                <c:pt idx="266">
                  <c:v>28620.8954999999</c:v>
                </c:pt>
                <c:pt idx="267">
                  <c:v>28710.683000000001</c:v>
                </c:pt>
                <c:pt idx="268">
                  <c:v>28781.503100000002</c:v>
                </c:pt>
                <c:pt idx="269">
                  <c:v>28844.759600000001</c:v>
                </c:pt>
                <c:pt idx="270">
                  <c:v>28885.954099999901</c:v>
                </c:pt>
                <c:pt idx="271">
                  <c:v>28958.576499999901</c:v>
                </c:pt>
                <c:pt idx="272">
                  <c:v>29116.134900000001</c:v>
                </c:pt>
                <c:pt idx="273">
                  <c:v>29227.5625</c:v>
                </c:pt>
                <c:pt idx="274">
                  <c:v>29493.02</c:v>
                </c:pt>
                <c:pt idx="275">
                  <c:v>29591.462</c:v>
                </c:pt>
                <c:pt idx="276">
                  <c:v>29738.2488999999</c:v>
                </c:pt>
                <c:pt idx="277">
                  <c:v>29932.287100000001</c:v>
                </c:pt>
                <c:pt idx="278">
                  <c:v>30023.036100000001</c:v>
                </c:pt>
                <c:pt idx="279">
                  <c:v>30246.675999999901</c:v>
                </c:pt>
                <c:pt idx="280">
                  <c:v>30325.7396999999</c:v>
                </c:pt>
                <c:pt idx="281">
                  <c:v>30375.690900000001</c:v>
                </c:pt>
                <c:pt idx="282">
                  <c:v>30442.6264999999</c:v>
                </c:pt>
                <c:pt idx="283">
                  <c:v>30531.106599999901</c:v>
                </c:pt>
                <c:pt idx="284">
                  <c:v>30661.441699999901</c:v>
                </c:pt>
                <c:pt idx="285">
                  <c:v>30811.576700000001</c:v>
                </c:pt>
                <c:pt idx="286">
                  <c:v>30952.6263</c:v>
                </c:pt>
                <c:pt idx="287">
                  <c:v>31052.4523999999</c:v>
                </c:pt>
                <c:pt idx="288">
                  <c:v>31302.750700000001</c:v>
                </c:pt>
                <c:pt idx="289">
                  <c:v>31751.7324999999</c:v>
                </c:pt>
                <c:pt idx="290">
                  <c:v>31844.593000000001</c:v>
                </c:pt>
                <c:pt idx="291">
                  <c:v>31960.210800000001</c:v>
                </c:pt>
                <c:pt idx="292">
                  <c:v>32089.2399</c:v>
                </c:pt>
                <c:pt idx="293">
                  <c:v>32159.4889</c:v>
                </c:pt>
                <c:pt idx="294">
                  <c:v>32453.048900000002</c:v>
                </c:pt>
                <c:pt idx="295">
                  <c:v>32584.473099999901</c:v>
                </c:pt>
                <c:pt idx="296">
                  <c:v>32708.045300000002</c:v>
                </c:pt>
                <c:pt idx="297">
                  <c:v>32783.525600000001</c:v>
                </c:pt>
                <c:pt idx="298">
                  <c:v>32896.430999999902</c:v>
                </c:pt>
                <c:pt idx="299">
                  <c:v>33033.920899999903</c:v>
                </c:pt>
                <c:pt idx="300">
                  <c:v>33131.220500000003</c:v>
                </c:pt>
                <c:pt idx="301">
                  <c:v>33425.003100000002</c:v>
                </c:pt>
                <c:pt idx="302">
                  <c:v>33490.2719</c:v>
                </c:pt>
                <c:pt idx="303">
                  <c:v>33634.621599999897</c:v>
                </c:pt>
                <c:pt idx="304">
                  <c:v>33787.482799999903</c:v>
                </c:pt>
                <c:pt idx="305">
                  <c:v>33897.896099999904</c:v>
                </c:pt>
                <c:pt idx="306">
                  <c:v>33971.523399999904</c:v>
                </c:pt>
                <c:pt idx="307">
                  <c:v>34071.933799999897</c:v>
                </c:pt>
                <c:pt idx="308">
                  <c:v>34151.209300000002</c:v>
                </c:pt>
                <c:pt idx="309">
                  <c:v>34294.672599999903</c:v>
                </c:pt>
                <c:pt idx="310">
                  <c:v>34315.904600000002</c:v>
                </c:pt>
                <c:pt idx="311">
                  <c:v>34585.030200000001</c:v>
                </c:pt>
                <c:pt idx="312">
                  <c:v>34764.632299999903</c:v>
                </c:pt>
                <c:pt idx="313">
                  <c:v>34914.402300000002</c:v>
                </c:pt>
                <c:pt idx="314">
                  <c:v>35076.9787</c:v>
                </c:pt>
                <c:pt idx="315">
                  <c:v>35138.590300000003</c:v>
                </c:pt>
                <c:pt idx="316">
                  <c:v>35278.1417</c:v>
                </c:pt>
                <c:pt idx="317">
                  <c:v>35798.2304</c:v>
                </c:pt>
                <c:pt idx="318">
                  <c:v>35911.267800000001</c:v>
                </c:pt>
                <c:pt idx="319">
                  <c:v>36058.468500000003</c:v>
                </c:pt>
                <c:pt idx="320">
                  <c:v>36219.095000000001</c:v>
                </c:pt>
                <c:pt idx="321">
                  <c:v>36349.055099999903</c:v>
                </c:pt>
                <c:pt idx="322">
                  <c:v>36479.351000000002</c:v>
                </c:pt>
                <c:pt idx="323">
                  <c:v>36656.697500000002</c:v>
                </c:pt>
                <c:pt idx="324">
                  <c:v>36839.568599999897</c:v>
                </c:pt>
                <c:pt idx="325">
                  <c:v>37006.392099999903</c:v>
                </c:pt>
                <c:pt idx="326">
                  <c:v>37084.020299999902</c:v>
                </c:pt>
                <c:pt idx="327">
                  <c:v>37198.641000000003</c:v>
                </c:pt>
                <c:pt idx="328">
                  <c:v>37310.521200000003</c:v>
                </c:pt>
                <c:pt idx="329">
                  <c:v>37488.157599999897</c:v>
                </c:pt>
                <c:pt idx="330">
                  <c:v>37749.676399999902</c:v>
                </c:pt>
                <c:pt idx="331">
                  <c:v>37929.073900000003</c:v>
                </c:pt>
                <c:pt idx="332">
                  <c:v>38006.1463</c:v>
                </c:pt>
                <c:pt idx="333">
                  <c:v>38025.355199999904</c:v>
                </c:pt>
                <c:pt idx="334">
                  <c:v>38043.289900000003</c:v>
                </c:pt>
                <c:pt idx="335">
                  <c:v>38061.220500000003</c:v>
                </c:pt>
                <c:pt idx="336">
                  <c:v>38079.153299999904</c:v>
                </c:pt>
                <c:pt idx="337">
                  <c:v>38097.096599999903</c:v>
                </c:pt>
                <c:pt idx="338">
                  <c:v>38115.0337</c:v>
                </c:pt>
                <c:pt idx="339">
                  <c:v>38132.955600000001</c:v>
                </c:pt>
                <c:pt idx="340">
                  <c:v>38150.899100000002</c:v>
                </c:pt>
                <c:pt idx="341">
                  <c:v>38168.831700000002</c:v>
                </c:pt>
                <c:pt idx="342">
                  <c:v>38186.775099999897</c:v>
                </c:pt>
                <c:pt idx="343">
                  <c:v>38204.705699999897</c:v>
                </c:pt>
                <c:pt idx="344">
                  <c:v>38208.632799999898</c:v>
                </c:pt>
                <c:pt idx="345">
                  <c:v>38226.574000000001</c:v>
                </c:pt>
                <c:pt idx="346">
                  <c:v>38244.520499999897</c:v>
                </c:pt>
                <c:pt idx="347">
                  <c:v>38262.472300000001</c:v>
                </c:pt>
                <c:pt idx="348">
                  <c:v>38280.401599999903</c:v>
                </c:pt>
                <c:pt idx="349">
                  <c:v>38298.347900000001</c:v>
                </c:pt>
                <c:pt idx="350">
                  <c:v>38316.299700000003</c:v>
                </c:pt>
                <c:pt idx="351">
                  <c:v>38334.2408</c:v>
                </c:pt>
                <c:pt idx="352">
                  <c:v>38352.187100000003</c:v>
                </c:pt>
                <c:pt idx="353">
                  <c:v>38370.133000000002</c:v>
                </c:pt>
                <c:pt idx="354">
                  <c:v>38388.074000000001</c:v>
                </c:pt>
                <c:pt idx="355">
                  <c:v>38404.138599999897</c:v>
                </c:pt>
                <c:pt idx="356">
                  <c:v>38422.088400000001</c:v>
                </c:pt>
                <c:pt idx="357">
                  <c:v>38440.043100000003</c:v>
                </c:pt>
                <c:pt idx="358">
                  <c:v>38457.9928</c:v>
                </c:pt>
                <c:pt idx="359">
                  <c:v>38475.9378</c:v>
                </c:pt>
                <c:pt idx="360">
                  <c:v>38493.8923</c:v>
                </c:pt>
                <c:pt idx="361">
                  <c:v>38511.842199999897</c:v>
                </c:pt>
                <c:pt idx="362">
                  <c:v>38529.796499999902</c:v>
                </c:pt>
                <c:pt idx="363">
                  <c:v>38547.741600000001</c:v>
                </c:pt>
                <c:pt idx="364">
                  <c:v>38565.691400000003</c:v>
                </c:pt>
                <c:pt idx="365">
                  <c:v>38583.639000000003</c:v>
                </c:pt>
                <c:pt idx="366">
                  <c:v>38601.5841</c:v>
                </c:pt>
                <c:pt idx="367">
                  <c:v>38619.533799999903</c:v>
                </c:pt>
                <c:pt idx="368">
                  <c:v>38637.488100000002</c:v>
                </c:pt>
                <c:pt idx="369">
                  <c:v>38655.433100000002</c:v>
                </c:pt>
                <c:pt idx="370">
                  <c:v>38673.382799999898</c:v>
                </c:pt>
                <c:pt idx="371">
                  <c:v>38691.337099999902</c:v>
                </c:pt>
                <c:pt idx="372">
                  <c:v>38709.286800000002</c:v>
                </c:pt>
                <c:pt idx="373">
                  <c:v>38727.231599999897</c:v>
                </c:pt>
                <c:pt idx="374">
                  <c:v>38745.185899999902</c:v>
                </c:pt>
                <c:pt idx="375">
                  <c:v>38763.135699999897</c:v>
                </c:pt>
                <c:pt idx="376">
                  <c:v>38781.080600000001</c:v>
                </c:pt>
                <c:pt idx="377">
                  <c:v>38799.034800000001</c:v>
                </c:pt>
                <c:pt idx="378">
                  <c:v>38816.984499999897</c:v>
                </c:pt>
                <c:pt idx="379">
                  <c:v>38834.929199999897</c:v>
                </c:pt>
                <c:pt idx="380">
                  <c:v>38852.883500000004</c:v>
                </c:pt>
                <c:pt idx="381">
                  <c:v>38870.832999999897</c:v>
                </c:pt>
                <c:pt idx="382">
                  <c:v>38888.777800000003</c:v>
                </c:pt>
                <c:pt idx="383">
                  <c:v>38906.732000000004</c:v>
                </c:pt>
                <c:pt idx="384">
                  <c:v>38924.681600000004</c:v>
                </c:pt>
                <c:pt idx="385">
                  <c:v>38942.626400000001</c:v>
                </c:pt>
                <c:pt idx="386">
                  <c:v>38950.481</c:v>
                </c:pt>
                <c:pt idx="387">
                  <c:v>38968.421699999897</c:v>
                </c:pt>
                <c:pt idx="388">
                  <c:v>38986.373200000002</c:v>
                </c:pt>
                <c:pt idx="389">
                  <c:v>39004.319100000001</c:v>
                </c:pt>
                <c:pt idx="390">
                  <c:v>39022.259899999903</c:v>
                </c:pt>
                <c:pt idx="391">
                  <c:v>39040.1999</c:v>
                </c:pt>
                <c:pt idx="392">
                  <c:v>39058.140800000001</c:v>
                </c:pt>
                <c:pt idx="393">
                  <c:v>39076.092100000002</c:v>
                </c:pt>
                <c:pt idx="394">
                  <c:v>39094.038099999903</c:v>
                </c:pt>
                <c:pt idx="395">
                  <c:v>39111.978900000002</c:v>
                </c:pt>
                <c:pt idx="396">
                  <c:v>39129.924700000003</c:v>
                </c:pt>
                <c:pt idx="397">
                  <c:v>39147.865299999903</c:v>
                </c:pt>
                <c:pt idx="398">
                  <c:v>39165.805</c:v>
                </c:pt>
                <c:pt idx="399">
                  <c:v>39183.750899999897</c:v>
                </c:pt>
                <c:pt idx="400">
                  <c:v>39201.691599999896</c:v>
                </c:pt>
                <c:pt idx="401">
                  <c:v>39219.637499999903</c:v>
                </c:pt>
                <c:pt idx="402">
                  <c:v>39237.578200000004</c:v>
                </c:pt>
                <c:pt idx="403">
                  <c:v>39255.524100000002</c:v>
                </c:pt>
                <c:pt idx="404">
                  <c:v>39273.475400000003</c:v>
                </c:pt>
                <c:pt idx="405">
                  <c:v>39291.415999999903</c:v>
                </c:pt>
                <c:pt idx="406">
                  <c:v>39309.355900000002</c:v>
                </c:pt>
                <c:pt idx="407">
                  <c:v>39309.8321</c:v>
                </c:pt>
                <c:pt idx="408">
                  <c:v>39327.7673</c:v>
                </c:pt>
                <c:pt idx="409">
                  <c:v>39345.698100000001</c:v>
                </c:pt>
                <c:pt idx="410">
                  <c:v>39363.637799999902</c:v>
                </c:pt>
                <c:pt idx="411">
                  <c:v>39381.572999999902</c:v>
                </c:pt>
                <c:pt idx="412">
                  <c:v>39399.503599999902</c:v>
                </c:pt>
                <c:pt idx="413">
                  <c:v>39417.443200000002</c:v>
                </c:pt>
                <c:pt idx="414">
                  <c:v>39435.378599999902</c:v>
                </c:pt>
                <c:pt idx="415">
                  <c:v>39453.318299999897</c:v>
                </c:pt>
                <c:pt idx="416">
                  <c:v>39471.249000000003</c:v>
                </c:pt>
                <c:pt idx="417">
                  <c:v>39489.184099999897</c:v>
                </c:pt>
                <c:pt idx="418">
                  <c:v>39507.123800000001</c:v>
                </c:pt>
                <c:pt idx="419">
                  <c:v>39525.054499999897</c:v>
                </c:pt>
                <c:pt idx="420">
                  <c:v>39542.977200000001</c:v>
                </c:pt>
                <c:pt idx="421">
                  <c:v>39556.868199999903</c:v>
                </c:pt>
                <c:pt idx="422">
                  <c:v>39574.795700000002</c:v>
                </c:pt>
                <c:pt idx="423">
                  <c:v>39592.723599999903</c:v>
                </c:pt>
                <c:pt idx="424">
                  <c:v>39610.647799999897</c:v>
                </c:pt>
                <c:pt idx="425">
                  <c:v>39628.5821</c:v>
                </c:pt>
                <c:pt idx="426">
                  <c:v>39646.506300000001</c:v>
                </c:pt>
                <c:pt idx="427">
                  <c:v>39664.440600000002</c:v>
                </c:pt>
                <c:pt idx="428">
                  <c:v>39682.357799999903</c:v>
                </c:pt>
                <c:pt idx="429">
                  <c:v>39700.285199999897</c:v>
                </c:pt>
                <c:pt idx="430">
                  <c:v>39718.216399999903</c:v>
                </c:pt>
                <c:pt idx="431">
                  <c:v>39736.137300000002</c:v>
                </c:pt>
                <c:pt idx="432">
                  <c:v>39754.071600000003</c:v>
                </c:pt>
                <c:pt idx="433">
                  <c:v>39771.995799999902</c:v>
                </c:pt>
                <c:pt idx="434">
                  <c:v>39789.930099999903</c:v>
                </c:pt>
                <c:pt idx="435">
                  <c:v>39807.854299999897</c:v>
                </c:pt>
                <c:pt idx="436">
                  <c:v>39825.7886</c:v>
                </c:pt>
                <c:pt idx="437">
                  <c:v>39835.038500000002</c:v>
                </c:pt>
                <c:pt idx="438">
                  <c:v>39852.9594</c:v>
                </c:pt>
                <c:pt idx="439">
                  <c:v>39870.887799999902</c:v>
                </c:pt>
                <c:pt idx="440">
                  <c:v>39888.801200000002</c:v>
                </c:pt>
                <c:pt idx="441">
                  <c:v>39906.722199999902</c:v>
                </c:pt>
                <c:pt idx="442">
                  <c:v>39907.1728</c:v>
                </c:pt>
                <c:pt idx="443">
                  <c:v>39925.116099999897</c:v>
                </c:pt>
                <c:pt idx="444">
                  <c:v>39943.053200000002</c:v>
                </c:pt>
                <c:pt idx="445">
                  <c:v>39960.991199999902</c:v>
                </c:pt>
                <c:pt idx="446">
                  <c:v>39978.928399999902</c:v>
                </c:pt>
                <c:pt idx="447">
                  <c:v>39996.871700000003</c:v>
                </c:pt>
                <c:pt idx="448">
                  <c:v>40014.808900000004</c:v>
                </c:pt>
                <c:pt idx="449">
                  <c:v>40032.741999999897</c:v>
                </c:pt>
                <c:pt idx="450">
                  <c:v>40050.679300000003</c:v>
                </c:pt>
                <c:pt idx="451">
                  <c:v>40068.6224</c:v>
                </c:pt>
                <c:pt idx="452">
                  <c:v>40086.554600000003</c:v>
                </c:pt>
                <c:pt idx="453">
                  <c:v>40104.485999999903</c:v>
                </c:pt>
                <c:pt idx="454">
                  <c:v>40108.140299999897</c:v>
                </c:pt>
                <c:pt idx="455">
                  <c:v>40126.091699999903</c:v>
                </c:pt>
                <c:pt idx="456">
                  <c:v>40144.031799999902</c:v>
                </c:pt>
                <c:pt idx="457">
                  <c:v>40161.976799999902</c:v>
                </c:pt>
                <c:pt idx="458">
                  <c:v>40179.929400000001</c:v>
                </c:pt>
                <c:pt idx="459">
                  <c:v>40197.874499999903</c:v>
                </c:pt>
                <c:pt idx="460">
                  <c:v>40215.814700000003</c:v>
                </c:pt>
                <c:pt idx="461">
                  <c:v>40233.759899999903</c:v>
                </c:pt>
                <c:pt idx="462">
                  <c:v>40251.706299999903</c:v>
                </c:pt>
                <c:pt idx="463">
                  <c:v>40269.651400000002</c:v>
                </c:pt>
                <c:pt idx="464">
                  <c:v>40287.5916</c:v>
                </c:pt>
                <c:pt idx="465">
                  <c:v>40305.554499999897</c:v>
                </c:pt>
                <c:pt idx="466">
                  <c:v>40323.4997</c:v>
                </c:pt>
                <c:pt idx="467">
                  <c:v>40341.439899999903</c:v>
                </c:pt>
                <c:pt idx="468">
                  <c:v>40359.391300000003</c:v>
                </c:pt>
                <c:pt idx="469">
                  <c:v>40377.3315</c:v>
                </c:pt>
                <c:pt idx="470">
                  <c:v>40395.2768</c:v>
                </c:pt>
                <c:pt idx="471">
                  <c:v>40413.217100000002</c:v>
                </c:pt>
                <c:pt idx="472">
                  <c:v>40431.174800000001</c:v>
                </c:pt>
                <c:pt idx="473">
                  <c:v>40449.115100000003</c:v>
                </c:pt>
                <c:pt idx="474">
                  <c:v>40467.060299999903</c:v>
                </c:pt>
                <c:pt idx="475">
                  <c:v>40485.0069</c:v>
                </c:pt>
                <c:pt idx="476">
                  <c:v>40502.9522</c:v>
                </c:pt>
                <c:pt idx="477">
                  <c:v>40520.892399999902</c:v>
                </c:pt>
                <c:pt idx="478">
                  <c:v>40538.837899999897</c:v>
                </c:pt>
                <c:pt idx="479">
                  <c:v>40556.7906</c:v>
                </c:pt>
                <c:pt idx="480">
                  <c:v>40574.7359</c:v>
                </c:pt>
                <c:pt idx="481">
                  <c:v>40592.676200000002</c:v>
                </c:pt>
                <c:pt idx="482">
                  <c:v>40610.633000000002</c:v>
                </c:pt>
                <c:pt idx="483">
                  <c:v>40628.578500000003</c:v>
                </c:pt>
                <c:pt idx="484">
                  <c:v>40646.518700000001</c:v>
                </c:pt>
                <c:pt idx="485">
                  <c:v>40664.464200000002</c:v>
                </c:pt>
                <c:pt idx="486">
                  <c:v>40682.417000000001</c:v>
                </c:pt>
                <c:pt idx="487">
                  <c:v>40700.362399999904</c:v>
                </c:pt>
                <c:pt idx="488">
                  <c:v>40718.302799999903</c:v>
                </c:pt>
                <c:pt idx="489">
                  <c:v>40736.254500000003</c:v>
                </c:pt>
                <c:pt idx="490">
                  <c:v>40754.194900000002</c:v>
                </c:pt>
                <c:pt idx="491">
                  <c:v>40772.140299999897</c:v>
                </c:pt>
                <c:pt idx="492">
                  <c:v>40790.091099999903</c:v>
                </c:pt>
                <c:pt idx="493">
                  <c:v>40808.043899999902</c:v>
                </c:pt>
                <c:pt idx="494">
                  <c:v>40825.989500000003</c:v>
                </c:pt>
                <c:pt idx="495">
                  <c:v>40843.929900000003</c:v>
                </c:pt>
                <c:pt idx="496">
                  <c:v>40861.875399999903</c:v>
                </c:pt>
                <c:pt idx="497">
                  <c:v>40879.8223</c:v>
                </c:pt>
                <c:pt idx="498">
                  <c:v>40897.767800000001</c:v>
                </c:pt>
                <c:pt idx="499">
                  <c:v>40915.708100000003</c:v>
                </c:pt>
                <c:pt idx="500">
                  <c:v>40933.658900000002</c:v>
                </c:pt>
                <c:pt idx="501">
                  <c:v>40951.616900000001</c:v>
                </c:pt>
                <c:pt idx="502">
                  <c:v>40969.557399999903</c:v>
                </c:pt>
                <c:pt idx="503">
                  <c:v>40987.502999999902</c:v>
                </c:pt>
                <c:pt idx="504">
                  <c:v>41005.443500000001</c:v>
                </c:pt>
                <c:pt idx="505">
                  <c:v>41023.395400000001</c:v>
                </c:pt>
                <c:pt idx="506">
                  <c:v>41041.335899999904</c:v>
                </c:pt>
                <c:pt idx="507">
                  <c:v>41059.286599999898</c:v>
                </c:pt>
                <c:pt idx="508">
                  <c:v>41077.232300000003</c:v>
                </c:pt>
                <c:pt idx="509">
                  <c:v>41095.185400000002</c:v>
                </c:pt>
                <c:pt idx="510">
                  <c:v>41113.131000000001</c:v>
                </c:pt>
                <c:pt idx="511">
                  <c:v>41127.874100000001</c:v>
                </c:pt>
                <c:pt idx="512">
                  <c:v>41145.8174</c:v>
                </c:pt>
                <c:pt idx="513">
                  <c:v>41163.749799999903</c:v>
                </c:pt>
                <c:pt idx="514">
                  <c:v>41181.693099999902</c:v>
                </c:pt>
                <c:pt idx="515">
                  <c:v>41199.625399999903</c:v>
                </c:pt>
                <c:pt idx="516">
                  <c:v>41217.559300000001</c:v>
                </c:pt>
                <c:pt idx="517">
                  <c:v>41235.496400000004</c:v>
                </c:pt>
                <c:pt idx="518">
                  <c:v>41253.435100000002</c:v>
                </c:pt>
                <c:pt idx="519">
                  <c:v>41271.372199999903</c:v>
                </c:pt>
                <c:pt idx="520">
                  <c:v>41289.310700000002</c:v>
                </c:pt>
                <c:pt idx="521">
                  <c:v>41312.7592</c:v>
                </c:pt>
                <c:pt idx="522">
                  <c:v>41403.305</c:v>
                </c:pt>
                <c:pt idx="523">
                  <c:v>41465.527300000002</c:v>
                </c:pt>
                <c:pt idx="524">
                  <c:v>41580.307699999903</c:v>
                </c:pt>
                <c:pt idx="525">
                  <c:v>41630.977400000003</c:v>
                </c:pt>
                <c:pt idx="526">
                  <c:v>41733.547200000001</c:v>
                </c:pt>
                <c:pt idx="527">
                  <c:v>41787.6374</c:v>
                </c:pt>
                <c:pt idx="528">
                  <c:v>41878.616600000001</c:v>
                </c:pt>
                <c:pt idx="529">
                  <c:v>42094.258900000001</c:v>
                </c:pt>
                <c:pt idx="530">
                  <c:v>42193.25</c:v>
                </c:pt>
                <c:pt idx="531">
                  <c:v>42324.331100000003</c:v>
                </c:pt>
                <c:pt idx="532">
                  <c:v>42434.753700000001</c:v>
                </c:pt>
                <c:pt idx="533">
                  <c:v>42834.918899999902</c:v>
                </c:pt>
                <c:pt idx="534">
                  <c:v>42979.969400000002</c:v>
                </c:pt>
                <c:pt idx="535">
                  <c:v>43280.299500000001</c:v>
                </c:pt>
                <c:pt idx="536">
                  <c:v>43298.236799999897</c:v>
                </c:pt>
                <c:pt idx="537">
                  <c:v>43334.535199999897</c:v>
                </c:pt>
                <c:pt idx="538">
                  <c:v>43517.473400000003</c:v>
                </c:pt>
                <c:pt idx="539">
                  <c:v>43674.375699999902</c:v>
                </c:pt>
                <c:pt idx="540">
                  <c:v>43777.106099999903</c:v>
                </c:pt>
                <c:pt idx="541">
                  <c:v>43932.3531</c:v>
                </c:pt>
                <c:pt idx="542">
                  <c:v>44195.736599999902</c:v>
                </c:pt>
                <c:pt idx="543">
                  <c:v>44344.832300000002</c:v>
                </c:pt>
                <c:pt idx="544">
                  <c:v>44627.504699999903</c:v>
                </c:pt>
                <c:pt idx="545">
                  <c:v>44754.530899999903</c:v>
                </c:pt>
                <c:pt idx="546">
                  <c:v>44901.278899999903</c:v>
                </c:pt>
                <c:pt idx="547">
                  <c:v>45186.994500000001</c:v>
                </c:pt>
                <c:pt idx="548">
                  <c:v>45290.0959</c:v>
                </c:pt>
                <c:pt idx="549">
                  <c:v>45428.029799999902</c:v>
                </c:pt>
                <c:pt idx="550">
                  <c:v>45573.7808</c:v>
                </c:pt>
                <c:pt idx="551">
                  <c:v>45693.695299999898</c:v>
                </c:pt>
                <c:pt idx="552">
                  <c:v>45809.865400000002</c:v>
                </c:pt>
                <c:pt idx="553">
                  <c:v>45945.639499999903</c:v>
                </c:pt>
                <c:pt idx="554">
                  <c:v>46010.6351</c:v>
                </c:pt>
                <c:pt idx="555">
                  <c:v>46177.458700000003</c:v>
                </c:pt>
                <c:pt idx="556">
                  <c:v>46269.0432</c:v>
                </c:pt>
                <c:pt idx="557">
                  <c:v>46387.046000000002</c:v>
                </c:pt>
                <c:pt idx="558">
                  <c:v>46552.214200000002</c:v>
                </c:pt>
                <c:pt idx="559">
                  <c:v>46655.184800000003</c:v>
                </c:pt>
                <c:pt idx="560">
                  <c:v>46787.8773</c:v>
                </c:pt>
                <c:pt idx="561">
                  <c:v>46892.0092</c:v>
                </c:pt>
                <c:pt idx="562">
                  <c:v>46998.537199999897</c:v>
                </c:pt>
                <c:pt idx="563">
                  <c:v>47157.887499999903</c:v>
                </c:pt>
                <c:pt idx="564">
                  <c:v>47230.817600000002</c:v>
                </c:pt>
                <c:pt idx="565">
                  <c:v>47368.091899999898</c:v>
                </c:pt>
                <c:pt idx="566">
                  <c:v>47512.592199999897</c:v>
                </c:pt>
                <c:pt idx="567">
                  <c:v>47618.894800000002</c:v>
                </c:pt>
                <c:pt idx="568">
                  <c:v>47909.108999999902</c:v>
                </c:pt>
                <c:pt idx="569">
                  <c:v>48270.382700000002</c:v>
                </c:pt>
                <c:pt idx="570">
                  <c:v>48403.273699999903</c:v>
                </c:pt>
                <c:pt idx="571">
                  <c:v>48519.745999999897</c:v>
                </c:pt>
                <c:pt idx="572">
                  <c:v>48660.700299999902</c:v>
                </c:pt>
                <c:pt idx="573">
                  <c:v>48732.560400000002</c:v>
                </c:pt>
                <c:pt idx="574">
                  <c:v>48982.345800000003</c:v>
                </c:pt>
                <c:pt idx="575">
                  <c:v>49104.845800000003</c:v>
                </c:pt>
                <c:pt idx="576">
                  <c:v>49186.6783</c:v>
                </c:pt>
                <c:pt idx="577">
                  <c:v>49307.283600000002</c:v>
                </c:pt>
                <c:pt idx="578">
                  <c:v>49423.160100000001</c:v>
                </c:pt>
                <c:pt idx="579">
                  <c:v>49497.4162</c:v>
                </c:pt>
                <c:pt idx="580">
                  <c:v>49635.798999999897</c:v>
                </c:pt>
                <c:pt idx="581">
                  <c:v>49751.906000000003</c:v>
                </c:pt>
                <c:pt idx="582">
                  <c:v>49860.919199999902</c:v>
                </c:pt>
                <c:pt idx="583">
                  <c:v>49979.584499999903</c:v>
                </c:pt>
                <c:pt idx="584">
                  <c:v>50077.928500000002</c:v>
                </c:pt>
                <c:pt idx="585">
                  <c:v>50192.5481</c:v>
                </c:pt>
                <c:pt idx="586">
                  <c:v>50266.256399999897</c:v>
                </c:pt>
                <c:pt idx="587">
                  <c:v>50417.867599999903</c:v>
                </c:pt>
                <c:pt idx="588">
                  <c:v>50513.844400000002</c:v>
                </c:pt>
                <c:pt idx="589">
                  <c:v>50652.927799999903</c:v>
                </c:pt>
                <c:pt idx="590">
                  <c:v>50733.393700000001</c:v>
                </c:pt>
                <c:pt idx="591">
                  <c:v>50800.617400000003</c:v>
                </c:pt>
                <c:pt idx="592">
                  <c:v>50841.442199999903</c:v>
                </c:pt>
                <c:pt idx="593">
                  <c:v>50894.320200000002</c:v>
                </c:pt>
                <c:pt idx="594">
                  <c:v>50953.422599999903</c:v>
                </c:pt>
                <c:pt idx="595">
                  <c:v>51097.7408</c:v>
                </c:pt>
                <c:pt idx="596">
                  <c:v>51172.7065</c:v>
                </c:pt>
                <c:pt idx="597">
                  <c:v>51250.706100000003</c:v>
                </c:pt>
                <c:pt idx="598">
                  <c:v>51312.3802</c:v>
                </c:pt>
                <c:pt idx="599">
                  <c:v>51355.742200000001</c:v>
                </c:pt>
                <c:pt idx="600">
                  <c:v>51653.673799999902</c:v>
                </c:pt>
                <c:pt idx="601">
                  <c:v>51731.238400000002</c:v>
                </c:pt>
                <c:pt idx="602">
                  <c:v>51816.079100000003</c:v>
                </c:pt>
                <c:pt idx="603">
                  <c:v>51879.318800000001</c:v>
                </c:pt>
                <c:pt idx="604">
                  <c:v>52012.519999999902</c:v>
                </c:pt>
                <c:pt idx="605">
                  <c:v>52230.757100000003</c:v>
                </c:pt>
                <c:pt idx="606">
                  <c:v>52359.747300000003</c:v>
                </c:pt>
                <c:pt idx="607">
                  <c:v>52525.027800000003</c:v>
                </c:pt>
                <c:pt idx="608">
                  <c:v>52780.959600000002</c:v>
                </c:pt>
                <c:pt idx="609">
                  <c:v>52872.019</c:v>
                </c:pt>
                <c:pt idx="610">
                  <c:v>53068.982799999903</c:v>
                </c:pt>
                <c:pt idx="611">
                  <c:v>53236.301299999897</c:v>
                </c:pt>
                <c:pt idx="612">
                  <c:v>53411.614200000004</c:v>
                </c:pt>
                <c:pt idx="613">
                  <c:v>53485.333200000001</c:v>
                </c:pt>
                <c:pt idx="614">
                  <c:v>53563.123899999897</c:v>
                </c:pt>
                <c:pt idx="615">
                  <c:v>53667.224499999902</c:v>
                </c:pt>
                <c:pt idx="616">
                  <c:v>53758.522700000001</c:v>
                </c:pt>
                <c:pt idx="617">
                  <c:v>54041.178200000002</c:v>
                </c:pt>
                <c:pt idx="618">
                  <c:v>54116.193200000002</c:v>
                </c:pt>
                <c:pt idx="619">
                  <c:v>54255.9277</c:v>
                </c:pt>
                <c:pt idx="620">
                  <c:v>54294.379500000003</c:v>
                </c:pt>
                <c:pt idx="621">
                  <c:v>54339.252999999902</c:v>
                </c:pt>
                <c:pt idx="622">
                  <c:v>54460.735500000003</c:v>
                </c:pt>
                <c:pt idx="623">
                  <c:v>54554.438300000002</c:v>
                </c:pt>
                <c:pt idx="624">
                  <c:v>54625.3027</c:v>
                </c:pt>
                <c:pt idx="625">
                  <c:v>54694.1967</c:v>
                </c:pt>
                <c:pt idx="626">
                  <c:v>54816.389199999903</c:v>
                </c:pt>
                <c:pt idx="627">
                  <c:v>54983.730600000003</c:v>
                </c:pt>
                <c:pt idx="628">
                  <c:v>55338.888500000001</c:v>
                </c:pt>
                <c:pt idx="629">
                  <c:v>55383.733800000002</c:v>
                </c:pt>
                <c:pt idx="630">
                  <c:v>55428.691299999897</c:v>
                </c:pt>
                <c:pt idx="631">
                  <c:v>55455.230799999903</c:v>
                </c:pt>
                <c:pt idx="632">
                  <c:v>55502.844899999902</c:v>
                </c:pt>
                <c:pt idx="633">
                  <c:v>55542.429100000001</c:v>
                </c:pt>
                <c:pt idx="634">
                  <c:v>55592.566400000003</c:v>
                </c:pt>
                <c:pt idx="635">
                  <c:v>55790.693800000001</c:v>
                </c:pt>
                <c:pt idx="636">
                  <c:v>55986.810599999902</c:v>
                </c:pt>
                <c:pt idx="637">
                  <c:v>56075.003499999897</c:v>
                </c:pt>
                <c:pt idx="638">
                  <c:v>56142.326999999903</c:v>
                </c:pt>
                <c:pt idx="639">
                  <c:v>56195.321799999903</c:v>
                </c:pt>
                <c:pt idx="640">
                  <c:v>56258.321900000003</c:v>
                </c:pt>
                <c:pt idx="641">
                  <c:v>56282.0095</c:v>
                </c:pt>
                <c:pt idx="642">
                  <c:v>56352.4928</c:v>
                </c:pt>
                <c:pt idx="643">
                  <c:v>56661.814100000003</c:v>
                </c:pt>
                <c:pt idx="644">
                  <c:v>56946.070599999897</c:v>
                </c:pt>
                <c:pt idx="645">
                  <c:v>56973.922700000003</c:v>
                </c:pt>
                <c:pt idx="646">
                  <c:v>57199.960899999904</c:v>
                </c:pt>
                <c:pt idx="647">
                  <c:v>57370.768300000003</c:v>
                </c:pt>
                <c:pt idx="648">
                  <c:v>57454.852500000001</c:v>
                </c:pt>
                <c:pt idx="649">
                  <c:v>57506.914700000001</c:v>
                </c:pt>
                <c:pt idx="650">
                  <c:v>57620.314299999904</c:v>
                </c:pt>
                <c:pt idx="651">
                  <c:v>57734.975200000001</c:v>
                </c:pt>
                <c:pt idx="652">
                  <c:v>57829.137900000002</c:v>
                </c:pt>
                <c:pt idx="653">
                  <c:v>58012.831299999903</c:v>
                </c:pt>
                <c:pt idx="654">
                  <c:v>58222.3361</c:v>
                </c:pt>
                <c:pt idx="655">
                  <c:v>58276.518100000001</c:v>
                </c:pt>
                <c:pt idx="656">
                  <c:v>58684.624499999903</c:v>
                </c:pt>
                <c:pt idx="657">
                  <c:v>58758.4467</c:v>
                </c:pt>
                <c:pt idx="658">
                  <c:v>58982.563600000001</c:v>
                </c:pt>
                <c:pt idx="659">
                  <c:v>59051.103199999903</c:v>
                </c:pt>
                <c:pt idx="660">
                  <c:v>59171.818800000001</c:v>
                </c:pt>
                <c:pt idx="661">
                  <c:v>59183.6204</c:v>
                </c:pt>
                <c:pt idx="662">
                  <c:v>59267.192499999903</c:v>
                </c:pt>
                <c:pt idx="663">
                  <c:v>59313.153200000001</c:v>
                </c:pt>
                <c:pt idx="664">
                  <c:v>59331.080999999896</c:v>
                </c:pt>
                <c:pt idx="665">
                  <c:v>59401.802100000001</c:v>
                </c:pt>
                <c:pt idx="666">
                  <c:v>59602.690600000002</c:v>
                </c:pt>
                <c:pt idx="667">
                  <c:v>59729.47</c:v>
                </c:pt>
                <c:pt idx="668">
                  <c:v>59853.314299999904</c:v>
                </c:pt>
                <c:pt idx="669">
                  <c:v>59936.715199999897</c:v>
                </c:pt>
                <c:pt idx="670">
                  <c:v>60268.803999999902</c:v>
                </c:pt>
                <c:pt idx="671">
                  <c:v>60630.5717</c:v>
                </c:pt>
                <c:pt idx="672">
                  <c:v>60851.864399999897</c:v>
                </c:pt>
                <c:pt idx="673">
                  <c:v>60945.5533</c:v>
                </c:pt>
                <c:pt idx="674">
                  <c:v>61117.851499999902</c:v>
                </c:pt>
                <c:pt idx="675">
                  <c:v>61209.466899999898</c:v>
                </c:pt>
                <c:pt idx="676">
                  <c:v>61375.660600000003</c:v>
                </c:pt>
                <c:pt idx="677">
                  <c:v>61452.175799999903</c:v>
                </c:pt>
                <c:pt idx="678">
                  <c:v>61505.3315</c:v>
                </c:pt>
                <c:pt idx="679">
                  <c:v>61596.839200000002</c:v>
                </c:pt>
                <c:pt idx="680">
                  <c:v>61677.216</c:v>
                </c:pt>
                <c:pt idx="681">
                  <c:v>61783.435899999902</c:v>
                </c:pt>
                <c:pt idx="682">
                  <c:v>61867.523300000001</c:v>
                </c:pt>
                <c:pt idx="683">
                  <c:v>61883.384599999903</c:v>
                </c:pt>
                <c:pt idx="684">
                  <c:v>61997.791299999903</c:v>
                </c:pt>
                <c:pt idx="685">
                  <c:v>62059.994400000003</c:v>
                </c:pt>
                <c:pt idx="686">
                  <c:v>62229.477299999897</c:v>
                </c:pt>
                <c:pt idx="687">
                  <c:v>62314.939299999904</c:v>
                </c:pt>
                <c:pt idx="688">
                  <c:v>62344.268300000003</c:v>
                </c:pt>
                <c:pt idx="689">
                  <c:v>62404.792699999904</c:v>
                </c:pt>
                <c:pt idx="690">
                  <c:v>62496.2886</c:v>
                </c:pt>
                <c:pt idx="691">
                  <c:v>62600.402000000002</c:v>
                </c:pt>
                <c:pt idx="692">
                  <c:v>62658.790500000003</c:v>
                </c:pt>
                <c:pt idx="693">
                  <c:v>62719.2785</c:v>
                </c:pt>
                <c:pt idx="694">
                  <c:v>62781.994400000003</c:v>
                </c:pt>
                <c:pt idx="695">
                  <c:v>62844.712</c:v>
                </c:pt>
                <c:pt idx="696">
                  <c:v>62915.756000000001</c:v>
                </c:pt>
                <c:pt idx="697">
                  <c:v>62985.216</c:v>
                </c:pt>
                <c:pt idx="698">
                  <c:v>63134.233200000002</c:v>
                </c:pt>
                <c:pt idx="699">
                  <c:v>63294.584600000002</c:v>
                </c:pt>
                <c:pt idx="700">
                  <c:v>63324.003400000001</c:v>
                </c:pt>
                <c:pt idx="701">
                  <c:v>63397.882299999903</c:v>
                </c:pt>
                <c:pt idx="702">
                  <c:v>63518.820200000002</c:v>
                </c:pt>
                <c:pt idx="703">
                  <c:v>63618.619599999904</c:v>
                </c:pt>
                <c:pt idx="704">
                  <c:v>63670.003900000003</c:v>
                </c:pt>
                <c:pt idx="705">
                  <c:v>63780.22</c:v>
                </c:pt>
                <c:pt idx="706">
                  <c:v>63826.182999999903</c:v>
                </c:pt>
                <c:pt idx="707">
                  <c:v>64207.549099999902</c:v>
                </c:pt>
                <c:pt idx="708">
                  <c:v>64301.458200000001</c:v>
                </c:pt>
                <c:pt idx="709">
                  <c:v>64387.805</c:v>
                </c:pt>
                <c:pt idx="710">
                  <c:v>64446.897100000002</c:v>
                </c:pt>
                <c:pt idx="711">
                  <c:v>64530.166599999902</c:v>
                </c:pt>
                <c:pt idx="712">
                  <c:v>64664.985399999903</c:v>
                </c:pt>
                <c:pt idx="713">
                  <c:v>64778.760900000001</c:v>
                </c:pt>
                <c:pt idx="714">
                  <c:v>64832.152000000002</c:v>
                </c:pt>
                <c:pt idx="715">
                  <c:v>64885.936099999897</c:v>
                </c:pt>
                <c:pt idx="716">
                  <c:v>64924.233200000002</c:v>
                </c:pt>
                <c:pt idx="717">
                  <c:v>64991.3393</c:v>
                </c:pt>
                <c:pt idx="718">
                  <c:v>65085.070299999898</c:v>
                </c:pt>
                <c:pt idx="719">
                  <c:v>65147.253499999897</c:v>
                </c:pt>
                <c:pt idx="720">
                  <c:v>65247.038</c:v>
                </c:pt>
                <c:pt idx="721">
                  <c:v>65377.3226</c:v>
                </c:pt>
                <c:pt idx="722">
                  <c:v>65498.135399999897</c:v>
                </c:pt>
                <c:pt idx="723">
                  <c:v>65562.747499999896</c:v>
                </c:pt>
                <c:pt idx="724">
                  <c:v>65614.744200000001</c:v>
                </c:pt>
                <c:pt idx="725">
                  <c:v>65769.937300000005</c:v>
                </c:pt>
                <c:pt idx="726">
                  <c:v>65922.309800000003</c:v>
                </c:pt>
                <c:pt idx="727">
                  <c:v>66176.374200000006</c:v>
                </c:pt>
                <c:pt idx="728">
                  <c:v>66263.658500000005</c:v>
                </c:pt>
                <c:pt idx="729">
                  <c:v>66338.295899999895</c:v>
                </c:pt>
                <c:pt idx="730">
                  <c:v>66513.466100000005</c:v>
                </c:pt>
                <c:pt idx="731">
                  <c:v>66688.750499999893</c:v>
                </c:pt>
                <c:pt idx="732">
                  <c:v>66827.350900000005</c:v>
                </c:pt>
                <c:pt idx="733">
                  <c:v>66931.4424</c:v>
                </c:pt>
                <c:pt idx="734">
                  <c:v>67117.357600000003</c:v>
                </c:pt>
                <c:pt idx="735">
                  <c:v>67196.688099999898</c:v>
                </c:pt>
                <c:pt idx="736">
                  <c:v>67294.140400000004</c:v>
                </c:pt>
                <c:pt idx="737">
                  <c:v>67336.329400000002</c:v>
                </c:pt>
                <c:pt idx="738">
                  <c:v>67386.3992</c:v>
                </c:pt>
                <c:pt idx="739">
                  <c:v>67499.4277</c:v>
                </c:pt>
                <c:pt idx="740">
                  <c:v>67931.9617</c:v>
                </c:pt>
                <c:pt idx="741">
                  <c:v>68150.1495</c:v>
                </c:pt>
                <c:pt idx="742">
                  <c:v>68726.177200000006</c:v>
                </c:pt>
                <c:pt idx="743">
                  <c:v>68853.532000000007</c:v>
                </c:pt>
                <c:pt idx="744">
                  <c:v>68997.990300000005</c:v>
                </c:pt>
                <c:pt idx="745">
                  <c:v>69149.422099999894</c:v>
                </c:pt>
                <c:pt idx="746">
                  <c:v>69689.087100000004</c:v>
                </c:pt>
                <c:pt idx="747">
                  <c:v>69984.882199999905</c:v>
                </c:pt>
                <c:pt idx="748">
                  <c:v>70166.733399999895</c:v>
                </c:pt>
                <c:pt idx="749">
                  <c:v>70285.063500000004</c:v>
                </c:pt>
                <c:pt idx="750">
                  <c:v>70450.798699999898</c:v>
                </c:pt>
                <c:pt idx="751">
                  <c:v>70525.646500000003</c:v>
                </c:pt>
                <c:pt idx="752">
                  <c:v>70622.922300000006</c:v>
                </c:pt>
                <c:pt idx="753">
                  <c:v>70856.050399999905</c:v>
                </c:pt>
                <c:pt idx="754">
                  <c:v>70882.7451</c:v>
                </c:pt>
                <c:pt idx="755">
                  <c:v>70897.428599999897</c:v>
                </c:pt>
                <c:pt idx="756">
                  <c:v>70984.714800000002</c:v>
                </c:pt>
                <c:pt idx="757">
                  <c:v>70995.315100000007</c:v>
                </c:pt>
                <c:pt idx="758">
                  <c:v>71058.303700000004</c:v>
                </c:pt>
                <c:pt idx="759">
                  <c:v>71132.013399999894</c:v>
                </c:pt>
                <c:pt idx="760">
                  <c:v>71199.296700000006</c:v>
                </c:pt>
                <c:pt idx="761">
                  <c:v>71306.015400000004</c:v>
                </c:pt>
                <c:pt idx="762">
                  <c:v>71685.093099999896</c:v>
                </c:pt>
                <c:pt idx="763">
                  <c:v>71766.209099999905</c:v>
                </c:pt>
                <c:pt idx="764">
                  <c:v>71816.355899999893</c:v>
                </c:pt>
                <c:pt idx="765">
                  <c:v>71869.238500000007</c:v>
                </c:pt>
                <c:pt idx="766">
                  <c:v>71921.764299999893</c:v>
                </c:pt>
                <c:pt idx="767">
                  <c:v>72065.249400000001</c:v>
                </c:pt>
                <c:pt idx="768">
                  <c:v>72314.302299999894</c:v>
                </c:pt>
                <c:pt idx="769">
                  <c:v>72410.017600000006</c:v>
                </c:pt>
                <c:pt idx="770">
                  <c:v>72477.043099999893</c:v>
                </c:pt>
                <c:pt idx="771">
                  <c:v>72548.417300000001</c:v>
                </c:pt>
                <c:pt idx="772">
                  <c:v>72633.518899999894</c:v>
                </c:pt>
                <c:pt idx="773">
                  <c:v>72710.676000000007</c:v>
                </c:pt>
                <c:pt idx="774">
                  <c:v>73078.713199999896</c:v>
                </c:pt>
                <c:pt idx="775">
                  <c:v>73269.752200000003</c:v>
                </c:pt>
                <c:pt idx="776">
                  <c:v>73300.504499999894</c:v>
                </c:pt>
                <c:pt idx="777">
                  <c:v>73396.950700000001</c:v>
                </c:pt>
                <c:pt idx="778">
                  <c:v>73526.170599999896</c:v>
                </c:pt>
                <c:pt idx="779">
                  <c:v>73606.852499999906</c:v>
                </c:pt>
                <c:pt idx="780">
                  <c:v>73674.596799999897</c:v>
                </c:pt>
                <c:pt idx="781">
                  <c:v>73730.330700000006</c:v>
                </c:pt>
                <c:pt idx="782">
                  <c:v>73777.685899999895</c:v>
                </c:pt>
                <c:pt idx="783">
                  <c:v>73823.436700000006</c:v>
                </c:pt>
                <c:pt idx="784">
                  <c:v>73956.423899999907</c:v>
                </c:pt>
                <c:pt idx="785">
                  <c:v>74118.436600000001</c:v>
                </c:pt>
                <c:pt idx="786">
                  <c:v>74322.409400000004</c:v>
                </c:pt>
                <c:pt idx="787">
                  <c:v>74377.945999999894</c:v>
                </c:pt>
                <c:pt idx="788">
                  <c:v>74541.059500000003</c:v>
                </c:pt>
                <c:pt idx="789">
                  <c:v>74607.596099999893</c:v>
                </c:pt>
                <c:pt idx="790">
                  <c:v>74699.777799999894</c:v>
                </c:pt>
                <c:pt idx="791">
                  <c:v>74925.051600000006</c:v>
                </c:pt>
                <c:pt idx="792">
                  <c:v>75086.795800000007</c:v>
                </c:pt>
                <c:pt idx="793">
                  <c:v>75192.816600000006</c:v>
                </c:pt>
                <c:pt idx="794">
                  <c:v>75221.222899999906</c:v>
                </c:pt>
                <c:pt idx="795">
                  <c:v>75239.136700000003</c:v>
                </c:pt>
                <c:pt idx="796">
                  <c:v>75257.0576</c:v>
                </c:pt>
                <c:pt idx="797">
                  <c:v>75274.978099999906</c:v>
                </c:pt>
                <c:pt idx="798">
                  <c:v>75280.373300000007</c:v>
                </c:pt>
                <c:pt idx="799">
                  <c:v>75298.297300000006</c:v>
                </c:pt>
                <c:pt idx="800">
                  <c:v>75316.205700000006</c:v>
                </c:pt>
                <c:pt idx="801">
                  <c:v>75334.120800000004</c:v>
                </c:pt>
                <c:pt idx="802">
                  <c:v>75352.0291</c:v>
                </c:pt>
                <c:pt idx="803">
                  <c:v>75369.953299999906</c:v>
                </c:pt>
                <c:pt idx="804">
                  <c:v>75387.860799999893</c:v>
                </c:pt>
                <c:pt idx="805">
                  <c:v>75405.776599999896</c:v>
                </c:pt>
                <c:pt idx="806">
                  <c:v>75423.685800000007</c:v>
                </c:pt>
                <c:pt idx="807">
                  <c:v>75431.019100000005</c:v>
                </c:pt>
                <c:pt idx="808">
                  <c:v>75495.798800000004</c:v>
                </c:pt>
                <c:pt idx="809">
                  <c:v>75572.1391</c:v>
                </c:pt>
                <c:pt idx="810">
                  <c:v>75635.357300000003</c:v>
                </c:pt>
                <c:pt idx="811">
                  <c:v>75692.055399999896</c:v>
                </c:pt>
                <c:pt idx="812">
                  <c:v>75748.745299999893</c:v>
                </c:pt>
                <c:pt idx="813">
                  <c:v>75905.000100000005</c:v>
                </c:pt>
                <c:pt idx="814">
                  <c:v>76070.953500000003</c:v>
                </c:pt>
                <c:pt idx="815">
                  <c:v>76263.603099999906</c:v>
                </c:pt>
                <c:pt idx="816">
                  <c:v>76376.496400000004</c:v>
                </c:pt>
                <c:pt idx="817">
                  <c:v>76456.330400000006</c:v>
                </c:pt>
                <c:pt idx="818">
                  <c:v>76510.414300000004</c:v>
                </c:pt>
                <c:pt idx="819">
                  <c:v>76681.653399999894</c:v>
                </c:pt>
                <c:pt idx="820">
                  <c:v>76796.191300000006</c:v>
                </c:pt>
                <c:pt idx="821">
                  <c:v>76867.13</c:v>
                </c:pt>
                <c:pt idx="822">
                  <c:v>76994.504100000006</c:v>
                </c:pt>
                <c:pt idx="823">
                  <c:v>77064.109100000001</c:v>
                </c:pt>
                <c:pt idx="824">
                  <c:v>77249.479600000006</c:v>
                </c:pt>
                <c:pt idx="825">
                  <c:v>77447.901100000003</c:v>
                </c:pt>
                <c:pt idx="826">
                  <c:v>77554.855599999893</c:v>
                </c:pt>
                <c:pt idx="827">
                  <c:v>77625.877900000007</c:v>
                </c:pt>
                <c:pt idx="828">
                  <c:v>77686.344700000001</c:v>
                </c:pt>
                <c:pt idx="829">
                  <c:v>77774.780100000004</c:v>
                </c:pt>
                <c:pt idx="830">
                  <c:v>77849.0334</c:v>
                </c:pt>
                <c:pt idx="831">
                  <c:v>77908.451100000006</c:v>
                </c:pt>
                <c:pt idx="832">
                  <c:v>77944.891900000002</c:v>
                </c:pt>
                <c:pt idx="833">
                  <c:v>77967.849300000002</c:v>
                </c:pt>
                <c:pt idx="834">
                  <c:v>78230.622000000003</c:v>
                </c:pt>
                <c:pt idx="835">
                  <c:v>78300.423500000004</c:v>
                </c:pt>
                <c:pt idx="836">
                  <c:v>78398.742700000003</c:v>
                </c:pt>
                <c:pt idx="837">
                  <c:v>78488.154500000004</c:v>
                </c:pt>
                <c:pt idx="838">
                  <c:v>78624.217000000004</c:v>
                </c:pt>
                <c:pt idx="839">
                  <c:v>78759.541800000006</c:v>
                </c:pt>
                <c:pt idx="840">
                  <c:v>79509.114700000006</c:v>
                </c:pt>
                <c:pt idx="841">
                  <c:v>79645.763300000006</c:v>
                </c:pt>
                <c:pt idx="842">
                  <c:v>79769.187300000005</c:v>
                </c:pt>
                <c:pt idx="843">
                  <c:v>79917.463600000003</c:v>
                </c:pt>
                <c:pt idx="844">
                  <c:v>80082.704400000002</c:v>
                </c:pt>
                <c:pt idx="845">
                  <c:v>80227.178499999907</c:v>
                </c:pt>
                <c:pt idx="846">
                  <c:v>80357.078500000003</c:v>
                </c:pt>
                <c:pt idx="847">
                  <c:v>80440.613100000002</c:v>
                </c:pt>
                <c:pt idx="848">
                  <c:v>80579.511899999896</c:v>
                </c:pt>
                <c:pt idx="849">
                  <c:v>80707.533100000001</c:v>
                </c:pt>
                <c:pt idx="850">
                  <c:v>80852.877200000003</c:v>
                </c:pt>
                <c:pt idx="851">
                  <c:v>80983.400899999906</c:v>
                </c:pt>
                <c:pt idx="852">
                  <c:v>81039.306599999894</c:v>
                </c:pt>
                <c:pt idx="853">
                  <c:v>81316.4372</c:v>
                </c:pt>
                <c:pt idx="854">
                  <c:v>81411.487699999896</c:v>
                </c:pt>
                <c:pt idx="855">
                  <c:v>81491.633799999894</c:v>
                </c:pt>
                <c:pt idx="856">
                  <c:v>81614.2307</c:v>
                </c:pt>
                <c:pt idx="857">
                  <c:v>81738.414000000004</c:v>
                </c:pt>
                <c:pt idx="858">
                  <c:v>81859.815900000001</c:v>
                </c:pt>
                <c:pt idx="859">
                  <c:v>81936.828599999906</c:v>
                </c:pt>
                <c:pt idx="860">
                  <c:v>82069.097299999907</c:v>
                </c:pt>
                <c:pt idx="861">
                  <c:v>82183.657800000001</c:v>
                </c:pt>
                <c:pt idx="862">
                  <c:v>82291.310299999896</c:v>
                </c:pt>
                <c:pt idx="863">
                  <c:v>82368.254700000005</c:v>
                </c:pt>
                <c:pt idx="864">
                  <c:v>82439.416400000002</c:v>
                </c:pt>
                <c:pt idx="865">
                  <c:v>82524.903600000005</c:v>
                </c:pt>
                <c:pt idx="866">
                  <c:v>82786.686300000001</c:v>
                </c:pt>
                <c:pt idx="867">
                  <c:v>82875.872799999896</c:v>
                </c:pt>
                <c:pt idx="868">
                  <c:v>82916.904399999898</c:v>
                </c:pt>
                <c:pt idx="869">
                  <c:v>83018.9274</c:v>
                </c:pt>
                <c:pt idx="870">
                  <c:v>83121.789600000004</c:v>
                </c:pt>
                <c:pt idx="871">
                  <c:v>83281.821800000005</c:v>
                </c:pt>
                <c:pt idx="872">
                  <c:v>83337.725200000001</c:v>
                </c:pt>
                <c:pt idx="873">
                  <c:v>83406.370800000004</c:v>
                </c:pt>
                <c:pt idx="874">
                  <c:v>83500.152100000007</c:v>
                </c:pt>
                <c:pt idx="875">
                  <c:v>83637.854099999895</c:v>
                </c:pt>
                <c:pt idx="876">
                  <c:v>83687.748900000006</c:v>
                </c:pt>
                <c:pt idx="877">
                  <c:v>83828.097699999897</c:v>
                </c:pt>
                <c:pt idx="878">
                  <c:v>83892.570500000002</c:v>
                </c:pt>
                <c:pt idx="879">
                  <c:v>84202.421499999895</c:v>
                </c:pt>
                <c:pt idx="880">
                  <c:v>84381.878200000006</c:v>
                </c:pt>
                <c:pt idx="881">
                  <c:v>84449.6152</c:v>
                </c:pt>
                <c:pt idx="882">
                  <c:v>84534.402400000006</c:v>
                </c:pt>
                <c:pt idx="883">
                  <c:v>84646.431599999894</c:v>
                </c:pt>
                <c:pt idx="884">
                  <c:v>84707.138399999894</c:v>
                </c:pt>
                <c:pt idx="885">
                  <c:v>84800.686000000002</c:v>
                </c:pt>
                <c:pt idx="886">
                  <c:v>84876.851699999897</c:v>
                </c:pt>
                <c:pt idx="887">
                  <c:v>85003.953399999897</c:v>
                </c:pt>
                <c:pt idx="888">
                  <c:v>85182.328699999896</c:v>
                </c:pt>
                <c:pt idx="889">
                  <c:v>85273.393200000006</c:v>
                </c:pt>
                <c:pt idx="890">
                  <c:v>85478.397100000002</c:v>
                </c:pt>
                <c:pt idx="891">
                  <c:v>85540.867100000003</c:v>
                </c:pt>
                <c:pt idx="892">
                  <c:v>85597.364600000001</c:v>
                </c:pt>
                <c:pt idx="893">
                  <c:v>85691.674299999897</c:v>
                </c:pt>
                <c:pt idx="894">
                  <c:v>85780.626499999897</c:v>
                </c:pt>
                <c:pt idx="895">
                  <c:v>85854.187900000004</c:v>
                </c:pt>
                <c:pt idx="896">
                  <c:v>85922.670299999896</c:v>
                </c:pt>
                <c:pt idx="897">
                  <c:v>86081.830199999895</c:v>
                </c:pt>
                <c:pt idx="898">
                  <c:v>86172.176300000006</c:v>
                </c:pt>
                <c:pt idx="899">
                  <c:v>86291.825400000002</c:v>
                </c:pt>
                <c:pt idx="900">
                  <c:v>86380.225300000006</c:v>
                </c:pt>
                <c:pt idx="901">
                  <c:v>86505.238100000002</c:v>
                </c:pt>
                <c:pt idx="902">
                  <c:v>86571.051999999894</c:v>
                </c:pt>
                <c:pt idx="903">
                  <c:v>86627.229000000007</c:v>
                </c:pt>
                <c:pt idx="904">
                  <c:v>86701.4323</c:v>
                </c:pt>
                <c:pt idx="905">
                  <c:v>86766.209199999896</c:v>
                </c:pt>
                <c:pt idx="906">
                  <c:v>86813.936000000002</c:v>
                </c:pt>
                <c:pt idx="907">
                  <c:v>86941.387400000007</c:v>
                </c:pt>
                <c:pt idx="908">
                  <c:v>87041.062900000004</c:v>
                </c:pt>
                <c:pt idx="909">
                  <c:v>87083.425300000003</c:v>
                </c:pt>
                <c:pt idx="910">
                  <c:v>87104.867899999896</c:v>
                </c:pt>
                <c:pt idx="911">
                  <c:v>87148.568100000004</c:v>
                </c:pt>
                <c:pt idx="912">
                  <c:v>87194.941399999894</c:v>
                </c:pt>
                <c:pt idx="913">
                  <c:v>87312.227700000003</c:v>
                </c:pt>
                <c:pt idx="914">
                  <c:v>87492.615999999907</c:v>
                </c:pt>
                <c:pt idx="915">
                  <c:v>87613.400099999897</c:v>
                </c:pt>
                <c:pt idx="916">
                  <c:v>87756.431500000006</c:v>
                </c:pt>
                <c:pt idx="917">
                  <c:v>87797.215800000005</c:v>
                </c:pt>
                <c:pt idx="918">
                  <c:v>87901.281199999896</c:v>
                </c:pt>
                <c:pt idx="919">
                  <c:v>88251.464300000007</c:v>
                </c:pt>
                <c:pt idx="920">
                  <c:v>88348.936900000001</c:v>
                </c:pt>
                <c:pt idx="921">
                  <c:v>88418.963699999906</c:v>
                </c:pt>
                <c:pt idx="922">
                  <c:v>88537.157200000001</c:v>
                </c:pt>
                <c:pt idx="923">
                  <c:v>88653.410900000003</c:v>
                </c:pt>
                <c:pt idx="924">
                  <c:v>88790.475600000005</c:v>
                </c:pt>
                <c:pt idx="925">
                  <c:v>89067.598700000002</c:v>
                </c:pt>
                <c:pt idx="926">
                  <c:v>89232.272599999895</c:v>
                </c:pt>
                <c:pt idx="927">
                  <c:v>89320.881699999896</c:v>
                </c:pt>
                <c:pt idx="928">
                  <c:v>89353.427599999894</c:v>
                </c:pt>
                <c:pt idx="929">
                  <c:v>89454.811300000001</c:v>
                </c:pt>
                <c:pt idx="930">
                  <c:v>89562.971000000005</c:v>
                </c:pt>
                <c:pt idx="931">
                  <c:v>89806.456699999893</c:v>
                </c:pt>
                <c:pt idx="932">
                  <c:v>89858.9421</c:v>
                </c:pt>
                <c:pt idx="933">
                  <c:v>89902.389299999893</c:v>
                </c:pt>
                <c:pt idx="934">
                  <c:v>89952.917600000001</c:v>
                </c:pt>
                <c:pt idx="935">
                  <c:v>90081.844400000002</c:v>
                </c:pt>
                <c:pt idx="936">
                  <c:v>90169.175700000007</c:v>
                </c:pt>
                <c:pt idx="937">
                  <c:v>90241.729999999894</c:v>
                </c:pt>
                <c:pt idx="938">
                  <c:v>90242.330700000006</c:v>
                </c:pt>
                <c:pt idx="939">
                  <c:v>90389.82</c:v>
                </c:pt>
                <c:pt idx="940">
                  <c:v>90682.894</c:v>
                </c:pt>
                <c:pt idx="941">
                  <c:v>90803.076499999894</c:v>
                </c:pt>
                <c:pt idx="942">
                  <c:v>90956.219400000002</c:v>
                </c:pt>
                <c:pt idx="943">
                  <c:v>91144.762000000002</c:v>
                </c:pt>
                <c:pt idx="944">
                  <c:v>91199.787400000001</c:v>
                </c:pt>
                <c:pt idx="945">
                  <c:v>91467.274600000004</c:v>
                </c:pt>
                <c:pt idx="946">
                  <c:v>91642.328500000003</c:v>
                </c:pt>
                <c:pt idx="947">
                  <c:v>91751.037700000001</c:v>
                </c:pt>
                <c:pt idx="948">
                  <c:v>91851.274399999893</c:v>
                </c:pt>
                <c:pt idx="949">
                  <c:v>91986.138900000005</c:v>
                </c:pt>
                <c:pt idx="950">
                  <c:v>92310.823099999907</c:v>
                </c:pt>
                <c:pt idx="951">
                  <c:v>92401.743100000007</c:v>
                </c:pt>
                <c:pt idx="952">
                  <c:v>92464.914900000003</c:v>
                </c:pt>
                <c:pt idx="953">
                  <c:v>92508.375400000004</c:v>
                </c:pt>
                <c:pt idx="954">
                  <c:v>92711.664399999907</c:v>
                </c:pt>
                <c:pt idx="955">
                  <c:v>92724.123500000002</c:v>
                </c:pt>
                <c:pt idx="956">
                  <c:v>92900.981499999907</c:v>
                </c:pt>
                <c:pt idx="957">
                  <c:v>93062.233300000007</c:v>
                </c:pt>
                <c:pt idx="958">
                  <c:v>93570.124299999894</c:v>
                </c:pt>
                <c:pt idx="959">
                  <c:v>93589.849000000002</c:v>
                </c:pt>
                <c:pt idx="960">
                  <c:v>93802.269</c:v>
                </c:pt>
                <c:pt idx="961">
                  <c:v>94235.375799999907</c:v>
                </c:pt>
                <c:pt idx="962">
                  <c:v>94338.837599999897</c:v>
                </c:pt>
                <c:pt idx="963">
                  <c:v>94458.968200000003</c:v>
                </c:pt>
                <c:pt idx="964">
                  <c:v>94514.470600000001</c:v>
                </c:pt>
                <c:pt idx="965">
                  <c:v>94582.049199999907</c:v>
                </c:pt>
                <c:pt idx="966">
                  <c:v>94696.956999999893</c:v>
                </c:pt>
                <c:pt idx="967">
                  <c:v>94752.588300000003</c:v>
                </c:pt>
                <c:pt idx="968">
                  <c:v>94933.480299999894</c:v>
                </c:pt>
                <c:pt idx="969">
                  <c:v>94970.240699999893</c:v>
                </c:pt>
                <c:pt idx="970">
                  <c:v>95043.751499999897</c:v>
                </c:pt>
                <c:pt idx="971">
                  <c:v>95351.573000000004</c:v>
                </c:pt>
                <c:pt idx="972">
                  <c:v>95440.930800000002</c:v>
                </c:pt>
                <c:pt idx="973">
                  <c:v>95684.814899999896</c:v>
                </c:pt>
                <c:pt idx="974">
                  <c:v>95800.611199999898</c:v>
                </c:pt>
                <c:pt idx="975">
                  <c:v>95900.394499999893</c:v>
                </c:pt>
                <c:pt idx="976">
                  <c:v>96400.360400000005</c:v>
                </c:pt>
                <c:pt idx="977">
                  <c:v>96538.792600000001</c:v>
                </c:pt>
                <c:pt idx="978">
                  <c:v>96751.601299999893</c:v>
                </c:pt>
                <c:pt idx="979">
                  <c:v>97040.503700000001</c:v>
                </c:pt>
                <c:pt idx="980">
                  <c:v>97291.331600000005</c:v>
                </c:pt>
                <c:pt idx="981">
                  <c:v>97442.188399999897</c:v>
                </c:pt>
                <c:pt idx="982">
                  <c:v>97455.353099999906</c:v>
                </c:pt>
                <c:pt idx="983">
                  <c:v>97601.369900000005</c:v>
                </c:pt>
                <c:pt idx="984">
                  <c:v>97868.057400000005</c:v>
                </c:pt>
                <c:pt idx="985">
                  <c:v>98111.851699999897</c:v>
                </c:pt>
                <c:pt idx="986">
                  <c:v>98222.073600000003</c:v>
                </c:pt>
                <c:pt idx="987">
                  <c:v>98372.654399999898</c:v>
                </c:pt>
                <c:pt idx="988">
                  <c:v>98445.594400000002</c:v>
                </c:pt>
                <c:pt idx="989">
                  <c:v>98469.878100000002</c:v>
                </c:pt>
                <c:pt idx="990">
                  <c:v>98484.558499999897</c:v>
                </c:pt>
                <c:pt idx="991">
                  <c:v>98927.105200000005</c:v>
                </c:pt>
                <c:pt idx="992">
                  <c:v>99320.036200000002</c:v>
                </c:pt>
                <c:pt idx="993">
                  <c:v>99660.725999999893</c:v>
                </c:pt>
                <c:pt idx="994">
                  <c:v>99754.342300000004</c:v>
                </c:pt>
                <c:pt idx="995">
                  <c:v>99863.098499999905</c:v>
                </c:pt>
                <c:pt idx="996">
                  <c:v>99954.3603</c:v>
                </c:pt>
                <c:pt idx="997">
                  <c:v>100057.963</c:v>
                </c:pt>
                <c:pt idx="998">
                  <c:v>100176.73450000001</c:v>
                </c:pt>
                <c:pt idx="999">
                  <c:v>100265.948099999</c:v>
                </c:pt>
                <c:pt idx="1000">
                  <c:v>100364.5851</c:v>
                </c:pt>
                <c:pt idx="1001">
                  <c:v>100468.5462</c:v>
                </c:pt>
                <c:pt idx="1002">
                  <c:v>100613.2703</c:v>
                </c:pt>
                <c:pt idx="1003">
                  <c:v>100741.1014</c:v>
                </c:pt>
                <c:pt idx="1004">
                  <c:v>100820.5046</c:v>
                </c:pt>
                <c:pt idx="1005">
                  <c:v>101179.9768</c:v>
                </c:pt>
                <c:pt idx="1006">
                  <c:v>101228.32550000001</c:v>
                </c:pt>
                <c:pt idx="1007">
                  <c:v>101383.6311</c:v>
                </c:pt>
                <c:pt idx="1008">
                  <c:v>101520.45970000001</c:v>
                </c:pt>
                <c:pt idx="1009">
                  <c:v>101735.6041</c:v>
                </c:pt>
                <c:pt idx="1010">
                  <c:v>101829.4412</c:v>
                </c:pt>
                <c:pt idx="1011">
                  <c:v>102137.4682</c:v>
                </c:pt>
                <c:pt idx="1012">
                  <c:v>102227.14290000001</c:v>
                </c:pt>
                <c:pt idx="1013">
                  <c:v>102328.3046</c:v>
                </c:pt>
                <c:pt idx="1014">
                  <c:v>102449.02929999901</c:v>
                </c:pt>
                <c:pt idx="1015">
                  <c:v>102493.1295</c:v>
                </c:pt>
                <c:pt idx="1016">
                  <c:v>102588.160099999</c:v>
                </c:pt>
                <c:pt idx="1017">
                  <c:v>102717.7488</c:v>
                </c:pt>
                <c:pt idx="1018">
                  <c:v>102807.3097</c:v>
                </c:pt>
                <c:pt idx="1019">
                  <c:v>103016.08040000001</c:v>
                </c:pt>
                <c:pt idx="1020">
                  <c:v>103261.0517</c:v>
                </c:pt>
                <c:pt idx="1021">
                  <c:v>103331.751399999</c:v>
                </c:pt>
                <c:pt idx="1022">
                  <c:v>103400.1912</c:v>
                </c:pt>
                <c:pt idx="1023">
                  <c:v>103429.2709</c:v>
                </c:pt>
                <c:pt idx="1024">
                  <c:v>103441.4158</c:v>
                </c:pt>
                <c:pt idx="1025">
                  <c:v>103514.938599999</c:v>
                </c:pt>
                <c:pt idx="1026">
                  <c:v>103678.31140000001</c:v>
                </c:pt>
                <c:pt idx="1027">
                  <c:v>103907.3704</c:v>
                </c:pt>
                <c:pt idx="1028">
                  <c:v>103988.4423</c:v>
                </c:pt>
                <c:pt idx="1029">
                  <c:v>104082.900899999</c:v>
                </c:pt>
                <c:pt idx="1030">
                  <c:v>104247.026</c:v>
                </c:pt>
                <c:pt idx="1031">
                  <c:v>104345.3152</c:v>
                </c:pt>
                <c:pt idx="1032">
                  <c:v>104442.06</c:v>
                </c:pt>
                <c:pt idx="1033">
                  <c:v>104535.90399999901</c:v>
                </c:pt>
                <c:pt idx="1034">
                  <c:v>104557.0895</c:v>
                </c:pt>
                <c:pt idx="1035">
                  <c:v>104662.3174</c:v>
                </c:pt>
                <c:pt idx="1036">
                  <c:v>104827.40919999901</c:v>
                </c:pt>
                <c:pt idx="1037">
                  <c:v>105476.9512</c:v>
                </c:pt>
                <c:pt idx="1038">
                  <c:v>105597.2694</c:v>
                </c:pt>
                <c:pt idx="1039">
                  <c:v>105780.1156</c:v>
                </c:pt>
                <c:pt idx="1040">
                  <c:v>106053.06110000001</c:v>
                </c:pt>
                <c:pt idx="1041">
                  <c:v>106123.439499999</c:v>
                </c:pt>
                <c:pt idx="1042">
                  <c:v>106320.139</c:v>
                </c:pt>
                <c:pt idx="1043">
                  <c:v>106531.8857</c:v>
                </c:pt>
                <c:pt idx="1044">
                  <c:v>106642.842699999</c:v>
                </c:pt>
                <c:pt idx="1045">
                  <c:v>106762.6434</c:v>
                </c:pt>
                <c:pt idx="1046">
                  <c:v>106870.372</c:v>
                </c:pt>
                <c:pt idx="1047">
                  <c:v>106966.6755</c:v>
                </c:pt>
                <c:pt idx="1048">
                  <c:v>107245.9391</c:v>
                </c:pt>
                <c:pt idx="1049">
                  <c:v>107363.09940000001</c:v>
                </c:pt>
                <c:pt idx="1050">
                  <c:v>107398.9314</c:v>
                </c:pt>
                <c:pt idx="1051">
                  <c:v>107684.900599999</c:v>
                </c:pt>
                <c:pt idx="1052">
                  <c:v>107773.49800000001</c:v>
                </c:pt>
                <c:pt idx="1053">
                  <c:v>107859.1153</c:v>
                </c:pt>
                <c:pt idx="1054">
                  <c:v>108039.8999</c:v>
                </c:pt>
                <c:pt idx="1055">
                  <c:v>108050.4868</c:v>
                </c:pt>
                <c:pt idx="1056">
                  <c:v>108111.96060000001</c:v>
                </c:pt>
                <c:pt idx="1057">
                  <c:v>108335.2341</c:v>
                </c:pt>
                <c:pt idx="1058">
                  <c:v>108627.573</c:v>
                </c:pt>
                <c:pt idx="1059">
                  <c:v>108661.0938</c:v>
                </c:pt>
                <c:pt idx="1060">
                  <c:v>108736.8593</c:v>
                </c:pt>
                <c:pt idx="1061">
                  <c:v>109495.7283</c:v>
                </c:pt>
                <c:pt idx="1062">
                  <c:v>109630.8879</c:v>
                </c:pt>
                <c:pt idx="1063">
                  <c:v>109789.0527</c:v>
                </c:pt>
                <c:pt idx="1064">
                  <c:v>109963.135299999</c:v>
                </c:pt>
                <c:pt idx="1065">
                  <c:v>110080.4761</c:v>
                </c:pt>
                <c:pt idx="1066">
                  <c:v>110133.505999999</c:v>
                </c:pt>
                <c:pt idx="1067">
                  <c:v>110173.5474</c:v>
                </c:pt>
                <c:pt idx="1068">
                  <c:v>110354.0589</c:v>
                </c:pt>
                <c:pt idx="1069">
                  <c:v>110458.0582</c:v>
                </c:pt>
                <c:pt idx="1070">
                  <c:v>110583.74860000001</c:v>
                </c:pt>
                <c:pt idx="1071">
                  <c:v>110674.321</c:v>
                </c:pt>
                <c:pt idx="1072">
                  <c:v>110731.925399999</c:v>
                </c:pt>
                <c:pt idx="1073">
                  <c:v>110805.4489</c:v>
                </c:pt>
                <c:pt idx="1074">
                  <c:v>111274.29180000001</c:v>
                </c:pt>
                <c:pt idx="1075">
                  <c:v>111397.5431</c:v>
                </c:pt>
                <c:pt idx="1076">
                  <c:v>111524.1299</c:v>
                </c:pt>
                <c:pt idx="1077">
                  <c:v>111534.7356</c:v>
                </c:pt>
                <c:pt idx="1078">
                  <c:v>111572.8514</c:v>
                </c:pt>
                <c:pt idx="1079">
                  <c:v>111761.992499999</c:v>
                </c:pt>
                <c:pt idx="1080">
                  <c:v>112240.93180000001</c:v>
                </c:pt>
                <c:pt idx="1081">
                  <c:v>112357.8003</c:v>
                </c:pt>
                <c:pt idx="1082">
                  <c:v>112508.3305</c:v>
                </c:pt>
                <c:pt idx="1083">
                  <c:v>112663.6732</c:v>
                </c:pt>
                <c:pt idx="1084">
                  <c:v>112763.9151</c:v>
                </c:pt>
                <c:pt idx="1085">
                  <c:v>112907.2763</c:v>
                </c:pt>
                <c:pt idx="1086">
                  <c:v>113048.57030000001</c:v>
                </c:pt>
                <c:pt idx="1087">
                  <c:v>113197.054399999</c:v>
                </c:pt>
                <c:pt idx="1088">
                  <c:v>113208.8364</c:v>
                </c:pt>
                <c:pt idx="1089">
                  <c:v>113227.6468</c:v>
                </c:pt>
                <c:pt idx="1090">
                  <c:v>113440.8973</c:v>
                </c:pt>
                <c:pt idx="1091">
                  <c:v>113601.9795</c:v>
                </c:pt>
                <c:pt idx="1092">
                  <c:v>113695.5784</c:v>
                </c:pt>
                <c:pt idx="1093">
                  <c:v>113910.645999999</c:v>
                </c:pt>
              </c:numCache>
            </c:numRef>
          </c:xVal>
          <c:yVal>
            <c:numRef>
              <c:f>Profile!$G$2:$G$1095</c:f>
              <c:numCache>
                <c:formatCode>General</c:formatCode>
                <c:ptCount val="1094"/>
                <c:pt idx="0">
                  <c:v>571.45150000000001</c:v>
                </c:pt>
                <c:pt idx="1">
                  <c:v>566.78189999999904</c:v>
                </c:pt>
                <c:pt idx="2">
                  <c:v>566.09069999999895</c:v>
                </c:pt>
                <c:pt idx="3">
                  <c:v>567.29079999999897</c:v>
                </c:pt>
                <c:pt idx="4">
                  <c:v>564.57820000000004</c:v>
                </c:pt>
                <c:pt idx="5">
                  <c:v>564.47670000000005</c:v>
                </c:pt>
                <c:pt idx="6">
                  <c:v>563.33709999999905</c:v>
                </c:pt>
                <c:pt idx="7">
                  <c:v>561.7414</c:v>
                </c:pt>
                <c:pt idx="8">
                  <c:v>561.19500000000005</c:v>
                </c:pt>
                <c:pt idx="9">
                  <c:v>561.37530000000004</c:v>
                </c:pt>
                <c:pt idx="10">
                  <c:v>559.91489999999897</c:v>
                </c:pt>
                <c:pt idx="11">
                  <c:v>559.14779999999905</c:v>
                </c:pt>
                <c:pt idx="12">
                  <c:v>559.197</c:v>
                </c:pt>
                <c:pt idx="13">
                  <c:v>555.74390000000005</c:v>
                </c:pt>
                <c:pt idx="14">
                  <c:v>553.92160000000001</c:v>
                </c:pt>
                <c:pt idx="15">
                  <c:v>554.04369999999903</c:v>
                </c:pt>
                <c:pt idx="16">
                  <c:v>552.30290000000002</c:v>
                </c:pt>
                <c:pt idx="17">
                  <c:v>552.89800000000002</c:v>
                </c:pt>
                <c:pt idx="18">
                  <c:v>554.43320000000006</c:v>
                </c:pt>
                <c:pt idx="19">
                  <c:v>549.37090000000001</c:v>
                </c:pt>
                <c:pt idx="20">
                  <c:v>555.72479999999905</c:v>
                </c:pt>
                <c:pt idx="21">
                  <c:v>549.27620000000002</c:v>
                </c:pt>
                <c:pt idx="22">
                  <c:v>548.12860000000001</c:v>
                </c:pt>
                <c:pt idx="23">
                  <c:v>548.03930000000003</c:v>
                </c:pt>
                <c:pt idx="24">
                  <c:v>545.72329999999897</c:v>
                </c:pt>
                <c:pt idx="25">
                  <c:v>545.23749999999905</c:v>
                </c:pt>
                <c:pt idx="26">
                  <c:v>543.08519999999896</c:v>
                </c:pt>
                <c:pt idx="27">
                  <c:v>542.3922</c:v>
                </c:pt>
                <c:pt idx="28">
                  <c:v>544.04060000000004</c:v>
                </c:pt>
                <c:pt idx="29">
                  <c:v>546.05780000000004</c:v>
                </c:pt>
                <c:pt idx="30">
                  <c:v>546.49019999999905</c:v>
                </c:pt>
                <c:pt idx="31">
                  <c:v>542.18589999999904</c:v>
                </c:pt>
                <c:pt idx="32">
                  <c:v>540.995</c:v>
                </c:pt>
                <c:pt idx="33">
                  <c:v>540.17510000000004</c:v>
                </c:pt>
                <c:pt idx="34">
                  <c:v>536.77919999999904</c:v>
                </c:pt>
                <c:pt idx="35">
                  <c:v>536.82950000000005</c:v>
                </c:pt>
                <c:pt idx="36">
                  <c:v>536.49289999999905</c:v>
                </c:pt>
                <c:pt idx="37">
                  <c:v>536.62080000000003</c:v>
                </c:pt>
                <c:pt idx="38">
                  <c:v>538.08820000000003</c:v>
                </c:pt>
                <c:pt idx="39">
                  <c:v>540.51850000000002</c:v>
                </c:pt>
                <c:pt idx="40">
                  <c:v>540.46889999999905</c:v>
                </c:pt>
                <c:pt idx="41">
                  <c:v>533.18709999999896</c:v>
                </c:pt>
                <c:pt idx="42">
                  <c:v>532.6934</c:v>
                </c:pt>
                <c:pt idx="43">
                  <c:v>530.49699999999905</c:v>
                </c:pt>
                <c:pt idx="44">
                  <c:v>532.19740000000002</c:v>
                </c:pt>
                <c:pt idx="45">
                  <c:v>532.26790000000005</c:v>
                </c:pt>
                <c:pt idx="46">
                  <c:v>530.20339999999896</c:v>
                </c:pt>
                <c:pt idx="47">
                  <c:v>531.21190000000001</c:v>
                </c:pt>
                <c:pt idx="48">
                  <c:v>530.14260000000002</c:v>
                </c:pt>
                <c:pt idx="49">
                  <c:v>529.95060000000001</c:v>
                </c:pt>
                <c:pt idx="50">
                  <c:v>535.47</c:v>
                </c:pt>
                <c:pt idx="51">
                  <c:v>528.32590000000005</c:v>
                </c:pt>
                <c:pt idx="52">
                  <c:v>524.32159999999897</c:v>
                </c:pt>
                <c:pt idx="53">
                  <c:v>524.58320000000003</c:v>
                </c:pt>
                <c:pt idx="54">
                  <c:v>523.97209999999905</c:v>
                </c:pt>
                <c:pt idx="55">
                  <c:v>524.01499999999896</c:v>
                </c:pt>
                <c:pt idx="56">
                  <c:v>524.69119999999896</c:v>
                </c:pt>
                <c:pt idx="57">
                  <c:v>523.80769999999904</c:v>
                </c:pt>
                <c:pt idx="58">
                  <c:v>523.76499999999896</c:v>
                </c:pt>
                <c:pt idx="59">
                  <c:v>523.76769999999897</c:v>
                </c:pt>
                <c:pt idx="60">
                  <c:v>523.86749999999904</c:v>
                </c:pt>
                <c:pt idx="61">
                  <c:v>523.87900000000002</c:v>
                </c:pt>
                <c:pt idx="62">
                  <c:v>523.90449999999896</c:v>
                </c:pt>
                <c:pt idx="63">
                  <c:v>523.82429999999897</c:v>
                </c:pt>
                <c:pt idx="64">
                  <c:v>523.89639999999895</c:v>
                </c:pt>
                <c:pt idx="65">
                  <c:v>522.63520000000005</c:v>
                </c:pt>
                <c:pt idx="66">
                  <c:v>517.66800000000001</c:v>
                </c:pt>
                <c:pt idx="67">
                  <c:v>517.66800000000001</c:v>
                </c:pt>
                <c:pt idx="68">
                  <c:v>517.74030000000005</c:v>
                </c:pt>
                <c:pt idx="69">
                  <c:v>517.52290000000005</c:v>
                </c:pt>
                <c:pt idx="70">
                  <c:v>513.53160000000003</c:v>
                </c:pt>
                <c:pt idx="71">
                  <c:v>513.35069999999905</c:v>
                </c:pt>
                <c:pt idx="72">
                  <c:v>511.83069999999901</c:v>
                </c:pt>
                <c:pt idx="73">
                  <c:v>512.59280000000001</c:v>
                </c:pt>
                <c:pt idx="74">
                  <c:v>513.35019999999895</c:v>
                </c:pt>
                <c:pt idx="75">
                  <c:v>512.46730000000002</c:v>
                </c:pt>
                <c:pt idx="76">
                  <c:v>511.96980000000002</c:v>
                </c:pt>
                <c:pt idx="77">
                  <c:v>509.90699999999902</c:v>
                </c:pt>
                <c:pt idx="78">
                  <c:v>514.34079999999904</c:v>
                </c:pt>
                <c:pt idx="79">
                  <c:v>515.35940000000005</c:v>
                </c:pt>
                <c:pt idx="80">
                  <c:v>510.02519999999902</c:v>
                </c:pt>
                <c:pt idx="81">
                  <c:v>509.5659</c:v>
                </c:pt>
                <c:pt idx="82">
                  <c:v>509.64069999999901</c:v>
                </c:pt>
                <c:pt idx="83">
                  <c:v>509.26319999999902</c:v>
                </c:pt>
                <c:pt idx="84">
                  <c:v>509.11840000000001</c:v>
                </c:pt>
                <c:pt idx="85">
                  <c:v>508.88420000000002</c:v>
                </c:pt>
                <c:pt idx="86">
                  <c:v>505.7011</c:v>
                </c:pt>
                <c:pt idx="87">
                  <c:v>506.11270000000002</c:v>
                </c:pt>
                <c:pt idx="88">
                  <c:v>507.01659999999902</c:v>
                </c:pt>
                <c:pt idx="89">
                  <c:v>504.99259999999902</c:v>
                </c:pt>
                <c:pt idx="90">
                  <c:v>504.58940000000001</c:v>
                </c:pt>
                <c:pt idx="91">
                  <c:v>504.38010000000003</c:v>
                </c:pt>
                <c:pt idx="92">
                  <c:v>503.0324</c:v>
                </c:pt>
                <c:pt idx="93">
                  <c:v>502.79950000000002</c:v>
                </c:pt>
                <c:pt idx="94">
                  <c:v>501.30650000000003</c:v>
                </c:pt>
                <c:pt idx="95">
                  <c:v>500.7998</c:v>
                </c:pt>
                <c:pt idx="96">
                  <c:v>500.84440000000001</c:v>
                </c:pt>
                <c:pt idx="97">
                  <c:v>503.85969999999901</c:v>
                </c:pt>
                <c:pt idx="98">
                  <c:v>503.54730000000001</c:v>
                </c:pt>
                <c:pt idx="99">
                  <c:v>499.13850000000002</c:v>
                </c:pt>
                <c:pt idx="100">
                  <c:v>498.2747</c:v>
                </c:pt>
                <c:pt idx="101">
                  <c:v>498.52940000000001</c:v>
                </c:pt>
                <c:pt idx="102">
                  <c:v>498.8682</c:v>
                </c:pt>
                <c:pt idx="103">
                  <c:v>500.04829999999902</c:v>
                </c:pt>
                <c:pt idx="104">
                  <c:v>501.0446</c:v>
                </c:pt>
                <c:pt idx="105">
                  <c:v>495.76100000000002</c:v>
                </c:pt>
                <c:pt idx="106">
                  <c:v>494.209</c:v>
                </c:pt>
                <c:pt idx="107">
                  <c:v>496.58800000000002</c:v>
                </c:pt>
                <c:pt idx="108">
                  <c:v>496.90449999999902</c:v>
                </c:pt>
                <c:pt idx="109">
                  <c:v>497.89879999999903</c:v>
                </c:pt>
                <c:pt idx="110">
                  <c:v>496.21960000000001</c:v>
                </c:pt>
                <c:pt idx="111">
                  <c:v>493.54739999999902</c:v>
                </c:pt>
                <c:pt idx="112">
                  <c:v>492.26749999999902</c:v>
                </c:pt>
                <c:pt idx="113">
                  <c:v>493.09980000000002</c:v>
                </c:pt>
                <c:pt idx="114">
                  <c:v>493.95409999999902</c:v>
                </c:pt>
                <c:pt idx="115">
                  <c:v>494.3501</c:v>
                </c:pt>
                <c:pt idx="116">
                  <c:v>491.62360000000001</c:v>
                </c:pt>
                <c:pt idx="117">
                  <c:v>488.846</c:v>
                </c:pt>
                <c:pt idx="118">
                  <c:v>488.8997</c:v>
                </c:pt>
                <c:pt idx="119">
                  <c:v>488.86689999999902</c:v>
                </c:pt>
                <c:pt idx="120">
                  <c:v>488.69450000000001</c:v>
                </c:pt>
                <c:pt idx="121">
                  <c:v>488.49220000000003</c:v>
                </c:pt>
                <c:pt idx="122">
                  <c:v>488.07150000000001</c:v>
                </c:pt>
                <c:pt idx="123">
                  <c:v>487.30520000000001</c:v>
                </c:pt>
                <c:pt idx="124">
                  <c:v>488.04410000000001</c:v>
                </c:pt>
                <c:pt idx="125">
                  <c:v>486.87479999999903</c:v>
                </c:pt>
                <c:pt idx="126">
                  <c:v>486.8861</c:v>
                </c:pt>
                <c:pt idx="127">
                  <c:v>486.55450000000002</c:v>
                </c:pt>
                <c:pt idx="128">
                  <c:v>486.69369999999901</c:v>
                </c:pt>
                <c:pt idx="129">
                  <c:v>487.0145</c:v>
                </c:pt>
                <c:pt idx="130">
                  <c:v>488.2937</c:v>
                </c:pt>
                <c:pt idx="131">
                  <c:v>487.94690000000003</c:v>
                </c:pt>
                <c:pt idx="132">
                  <c:v>487.60019999999901</c:v>
                </c:pt>
                <c:pt idx="133">
                  <c:v>486.55919999999901</c:v>
                </c:pt>
                <c:pt idx="134">
                  <c:v>483.05959999999902</c:v>
                </c:pt>
                <c:pt idx="135">
                  <c:v>481.69450000000001</c:v>
                </c:pt>
                <c:pt idx="136">
                  <c:v>480.91660000000002</c:v>
                </c:pt>
                <c:pt idx="137">
                  <c:v>481.35500000000002</c:v>
                </c:pt>
                <c:pt idx="138">
                  <c:v>481.53489999999903</c:v>
                </c:pt>
                <c:pt idx="139">
                  <c:v>481.4307</c:v>
                </c:pt>
                <c:pt idx="140">
                  <c:v>481.33600000000001</c:v>
                </c:pt>
                <c:pt idx="141">
                  <c:v>481.39280000000002</c:v>
                </c:pt>
                <c:pt idx="142">
                  <c:v>475.16140000000001</c:v>
                </c:pt>
                <c:pt idx="143">
                  <c:v>476.26670000000001</c:v>
                </c:pt>
                <c:pt idx="144">
                  <c:v>477.74239999999901</c:v>
                </c:pt>
                <c:pt idx="145">
                  <c:v>474.51749999999902</c:v>
                </c:pt>
                <c:pt idx="146">
                  <c:v>475.37369999999902</c:v>
                </c:pt>
                <c:pt idx="147">
                  <c:v>475.39229999999901</c:v>
                </c:pt>
                <c:pt idx="148">
                  <c:v>474.38990000000001</c:v>
                </c:pt>
                <c:pt idx="149">
                  <c:v>474.67110000000002</c:v>
                </c:pt>
                <c:pt idx="150">
                  <c:v>476.19510000000002</c:v>
                </c:pt>
                <c:pt idx="151">
                  <c:v>474.38069999999902</c:v>
                </c:pt>
                <c:pt idx="152">
                  <c:v>471.4162</c:v>
                </c:pt>
                <c:pt idx="153">
                  <c:v>471.25689999999901</c:v>
                </c:pt>
                <c:pt idx="154">
                  <c:v>471.02730000000003</c:v>
                </c:pt>
                <c:pt idx="155">
                  <c:v>469.14060000000001</c:v>
                </c:pt>
                <c:pt idx="156">
                  <c:v>469.34969999999902</c:v>
                </c:pt>
                <c:pt idx="157">
                  <c:v>469.4058</c:v>
                </c:pt>
                <c:pt idx="158">
                  <c:v>469.70670000000001</c:v>
                </c:pt>
                <c:pt idx="159">
                  <c:v>469.02659999999901</c:v>
                </c:pt>
                <c:pt idx="160">
                  <c:v>470.57440000000003</c:v>
                </c:pt>
                <c:pt idx="161">
                  <c:v>469.44400000000002</c:v>
                </c:pt>
                <c:pt idx="162">
                  <c:v>469.85649999999902</c:v>
                </c:pt>
                <c:pt idx="163">
                  <c:v>469.0566</c:v>
                </c:pt>
                <c:pt idx="164">
                  <c:v>469.12180000000001</c:v>
                </c:pt>
                <c:pt idx="165">
                  <c:v>469.26299999999901</c:v>
                </c:pt>
                <c:pt idx="166">
                  <c:v>469.03949999999901</c:v>
                </c:pt>
                <c:pt idx="167">
                  <c:v>465.73379999999901</c:v>
                </c:pt>
                <c:pt idx="168">
                  <c:v>463.36360000000002</c:v>
                </c:pt>
                <c:pt idx="169">
                  <c:v>463.27850000000001</c:v>
                </c:pt>
                <c:pt idx="170">
                  <c:v>464.61959999999902</c:v>
                </c:pt>
                <c:pt idx="171">
                  <c:v>461.84460000000001</c:v>
                </c:pt>
                <c:pt idx="172">
                  <c:v>462.37759999999901</c:v>
                </c:pt>
                <c:pt idx="173">
                  <c:v>460.99349999999902</c:v>
                </c:pt>
                <c:pt idx="174">
                  <c:v>459.83870000000002</c:v>
                </c:pt>
                <c:pt idx="175">
                  <c:v>459.18540000000002</c:v>
                </c:pt>
                <c:pt idx="176">
                  <c:v>458.38139999999902</c:v>
                </c:pt>
                <c:pt idx="177">
                  <c:v>458.6087</c:v>
                </c:pt>
                <c:pt idx="178">
                  <c:v>457.55259999999902</c:v>
                </c:pt>
                <c:pt idx="179">
                  <c:v>457.17739999999901</c:v>
                </c:pt>
                <c:pt idx="180">
                  <c:v>457.3245</c:v>
                </c:pt>
                <c:pt idx="181">
                  <c:v>457.9307</c:v>
                </c:pt>
                <c:pt idx="182">
                  <c:v>457.09199999999902</c:v>
                </c:pt>
                <c:pt idx="183">
                  <c:v>454.6463</c:v>
                </c:pt>
                <c:pt idx="184">
                  <c:v>454.52339999999901</c:v>
                </c:pt>
                <c:pt idx="185">
                  <c:v>455.10930000000002</c:v>
                </c:pt>
                <c:pt idx="186">
                  <c:v>454.35039999999901</c:v>
                </c:pt>
                <c:pt idx="187">
                  <c:v>454.18830000000003</c:v>
                </c:pt>
                <c:pt idx="188">
                  <c:v>451.86169999999902</c:v>
                </c:pt>
                <c:pt idx="189">
                  <c:v>454.60680000000002</c:v>
                </c:pt>
                <c:pt idx="190">
                  <c:v>455.71260000000001</c:v>
                </c:pt>
                <c:pt idx="191">
                  <c:v>452.7876</c:v>
                </c:pt>
                <c:pt idx="192">
                  <c:v>450.68150000000003</c:v>
                </c:pt>
                <c:pt idx="193">
                  <c:v>450.55360000000002</c:v>
                </c:pt>
                <c:pt idx="194">
                  <c:v>450.6293</c:v>
                </c:pt>
                <c:pt idx="195">
                  <c:v>450.83049999999901</c:v>
                </c:pt>
                <c:pt idx="196">
                  <c:v>450.77730000000003</c:v>
                </c:pt>
                <c:pt idx="197">
                  <c:v>449.7989</c:v>
                </c:pt>
                <c:pt idx="198">
                  <c:v>452.3005</c:v>
                </c:pt>
                <c:pt idx="199">
                  <c:v>449.95600000000002</c:v>
                </c:pt>
                <c:pt idx="200">
                  <c:v>451.7989</c:v>
                </c:pt>
                <c:pt idx="201">
                  <c:v>453.03120000000001</c:v>
                </c:pt>
                <c:pt idx="202">
                  <c:v>450.41629999999901</c:v>
                </c:pt>
                <c:pt idx="203">
                  <c:v>450.36020000000002</c:v>
                </c:pt>
                <c:pt idx="204">
                  <c:v>448.69389999999902</c:v>
                </c:pt>
                <c:pt idx="205">
                  <c:v>447.24599999999901</c:v>
                </c:pt>
                <c:pt idx="206">
                  <c:v>445.65129999999903</c:v>
                </c:pt>
                <c:pt idx="207">
                  <c:v>446.5609</c:v>
                </c:pt>
                <c:pt idx="208">
                  <c:v>444.7842</c:v>
                </c:pt>
                <c:pt idx="209">
                  <c:v>444.8272</c:v>
                </c:pt>
                <c:pt idx="210">
                  <c:v>443.89749999999901</c:v>
                </c:pt>
                <c:pt idx="211">
                  <c:v>445.24889999999903</c:v>
                </c:pt>
                <c:pt idx="212">
                  <c:v>445.24459999999902</c:v>
                </c:pt>
                <c:pt idx="213">
                  <c:v>443.9855</c:v>
                </c:pt>
                <c:pt idx="214">
                  <c:v>443.85919999999902</c:v>
                </c:pt>
                <c:pt idx="215">
                  <c:v>443.70670000000001</c:v>
                </c:pt>
                <c:pt idx="216">
                  <c:v>443.82159999999902</c:v>
                </c:pt>
                <c:pt idx="217">
                  <c:v>443.34390000000002</c:v>
                </c:pt>
                <c:pt idx="218">
                  <c:v>439.67779999999902</c:v>
                </c:pt>
                <c:pt idx="219">
                  <c:v>443.03980000000001</c:v>
                </c:pt>
                <c:pt idx="220">
                  <c:v>437.9624</c:v>
                </c:pt>
                <c:pt idx="221">
                  <c:v>438.9074</c:v>
                </c:pt>
                <c:pt idx="222">
                  <c:v>440.72519999999901</c:v>
                </c:pt>
                <c:pt idx="223">
                  <c:v>440.46260000000001</c:v>
                </c:pt>
                <c:pt idx="224">
                  <c:v>438.70409999999902</c:v>
                </c:pt>
                <c:pt idx="225">
                  <c:v>437.67790000000002</c:v>
                </c:pt>
                <c:pt idx="226">
                  <c:v>438.00420000000003</c:v>
                </c:pt>
                <c:pt idx="227">
                  <c:v>438.09480000000002</c:v>
                </c:pt>
                <c:pt idx="228">
                  <c:v>437.99880000000002</c:v>
                </c:pt>
                <c:pt idx="229">
                  <c:v>438.65499999999901</c:v>
                </c:pt>
                <c:pt idx="230">
                  <c:v>438.79300000000001</c:v>
                </c:pt>
                <c:pt idx="231">
                  <c:v>438.3399</c:v>
                </c:pt>
                <c:pt idx="232">
                  <c:v>433.53879999999901</c:v>
                </c:pt>
                <c:pt idx="233">
                  <c:v>432.6327</c:v>
                </c:pt>
                <c:pt idx="234">
                  <c:v>432.85399999999902</c:v>
                </c:pt>
                <c:pt idx="235">
                  <c:v>435.8279</c:v>
                </c:pt>
                <c:pt idx="236">
                  <c:v>433.46469999999903</c:v>
                </c:pt>
                <c:pt idx="237">
                  <c:v>432.65379999999902</c:v>
                </c:pt>
                <c:pt idx="238">
                  <c:v>434.15269999999902</c:v>
                </c:pt>
                <c:pt idx="239">
                  <c:v>432.91039999999902</c:v>
                </c:pt>
                <c:pt idx="240">
                  <c:v>432.95929999999902</c:v>
                </c:pt>
                <c:pt idx="241">
                  <c:v>432.71129999999903</c:v>
                </c:pt>
                <c:pt idx="242">
                  <c:v>433.03960000000001</c:v>
                </c:pt>
                <c:pt idx="243">
                  <c:v>432.654</c:v>
                </c:pt>
                <c:pt idx="244">
                  <c:v>432.65269999999902</c:v>
                </c:pt>
                <c:pt idx="245">
                  <c:v>432.62299999999902</c:v>
                </c:pt>
                <c:pt idx="246">
                  <c:v>432.63990000000001</c:v>
                </c:pt>
                <c:pt idx="247">
                  <c:v>432.5883</c:v>
                </c:pt>
                <c:pt idx="248">
                  <c:v>432.1</c:v>
                </c:pt>
                <c:pt idx="249">
                  <c:v>432.0752</c:v>
                </c:pt>
                <c:pt idx="250">
                  <c:v>432.39179999999902</c:v>
                </c:pt>
                <c:pt idx="251">
                  <c:v>430.22710000000001</c:v>
                </c:pt>
                <c:pt idx="252">
                  <c:v>425.4812</c:v>
                </c:pt>
                <c:pt idx="253">
                  <c:v>425.94709999999901</c:v>
                </c:pt>
                <c:pt idx="254">
                  <c:v>426.41649999999902</c:v>
                </c:pt>
                <c:pt idx="255">
                  <c:v>427.36110000000002</c:v>
                </c:pt>
                <c:pt idx="256">
                  <c:v>427.40170000000001</c:v>
                </c:pt>
                <c:pt idx="257">
                  <c:v>425.9033</c:v>
                </c:pt>
                <c:pt idx="258">
                  <c:v>426.12</c:v>
                </c:pt>
                <c:pt idx="259">
                  <c:v>424.93599999999901</c:v>
                </c:pt>
                <c:pt idx="260">
                  <c:v>423.0616</c:v>
                </c:pt>
                <c:pt idx="261">
                  <c:v>423.91800000000001</c:v>
                </c:pt>
                <c:pt idx="262">
                  <c:v>424.20080000000002</c:v>
                </c:pt>
                <c:pt idx="263">
                  <c:v>425.80669999999901</c:v>
                </c:pt>
                <c:pt idx="264">
                  <c:v>425.34339999999901</c:v>
                </c:pt>
                <c:pt idx="265">
                  <c:v>425.1277</c:v>
                </c:pt>
                <c:pt idx="266">
                  <c:v>423.8288</c:v>
                </c:pt>
                <c:pt idx="267">
                  <c:v>424.25310000000002</c:v>
                </c:pt>
                <c:pt idx="268">
                  <c:v>428.35129999999901</c:v>
                </c:pt>
                <c:pt idx="269">
                  <c:v>421.76999999999902</c:v>
                </c:pt>
                <c:pt idx="270">
                  <c:v>423.63940000000002</c:v>
                </c:pt>
                <c:pt idx="271">
                  <c:v>428.45740000000001</c:v>
                </c:pt>
                <c:pt idx="272">
                  <c:v>420.82690000000002</c:v>
                </c:pt>
                <c:pt idx="273">
                  <c:v>419.56639999999902</c:v>
                </c:pt>
                <c:pt idx="274">
                  <c:v>424.28410000000002</c:v>
                </c:pt>
                <c:pt idx="275">
                  <c:v>424.59160000000003</c:v>
                </c:pt>
                <c:pt idx="276">
                  <c:v>418.851</c:v>
                </c:pt>
                <c:pt idx="277">
                  <c:v>420.77929999999901</c:v>
                </c:pt>
                <c:pt idx="278">
                  <c:v>419.94069999999903</c:v>
                </c:pt>
                <c:pt idx="279">
                  <c:v>418.43310000000002</c:v>
                </c:pt>
                <c:pt idx="280">
                  <c:v>419.83949999999902</c:v>
                </c:pt>
                <c:pt idx="281">
                  <c:v>423.20569999999901</c:v>
                </c:pt>
                <c:pt idx="282">
                  <c:v>419.76830000000001</c:v>
                </c:pt>
                <c:pt idx="283">
                  <c:v>418.40260000000001</c:v>
                </c:pt>
                <c:pt idx="284">
                  <c:v>419.524</c:v>
                </c:pt>
                <c:pt idx="285">
                  <c:v>423.37209999999902</c:v>
                </c:pt>
                <c:pt idx="286">
                  <c:v>418.30779999999902</c:v>
                </c:pt>
                <c:pt idx="287">
                  <c:v>417.86369999999903</c:v>
                </c:pt>
                <c:pt idx="288">
                  <c:v>416.1825</c:v>
                </c:pt>
                <c:pt idx="289">
                  <c:v>415.06999999999903</c:v>
                </c:pt>
                <c:pt idx="290">
                  <c:v>414.26819999999901</c:v>
                </c:pt>
                <c:pt idx="291">
                  <c:v>414.09690000000001</c:v>
                </c:pt>
                <c:pt idx="292">
                  <c:v>413.6651</c:v>
                </c:pt>
                <c:pt idx="293">
                  <c:v>413.70819999999901</c:v>
                </c:pt>
                <c:pt idx="294">
                  <c:v>412.53719999999902</c:v>
                </c:pt>
                <c:pt idx="295">
                  <c:v>412.49740000000003</c:v>
                </c:pt>
                <c:pt idx="296">
                  <c:v>414.29599999999903</c:v>
                </c:pt>
                <c:pt idx="297">
                  <c:v>409.89929999999902</c:v>
                </c:pt>
                <c:pt idx="298">
                  <c:v>411.26190000000003</c:v>
                </c:pt>
                <c:pt idx="299">
                  <c:v>408.91390000000001</c:v>
                </c:pt>
                <c:pt idx="300">
                  <c:v>409.66419999999903</c:v>
                </c:pt>
                <c:pt idx="301">
                  <c:v>408.10329999999902</c:v>
                </c:pt>
                <c:pt idx="302">
                  <c:v>408.24970000000002</c:v>
                </c:pt>
                <c:pt idx="303">
                  <c:v>407.73059999999901</c:v>
                </c:pt>
                <c:pt idx="304">
                  <c:v>415.75540000000001</c:v>
                </c:pt>
                <c:pt idx="305">
                  <c:v>411.15140000000002</c:v>
                </c:pt>
                <c:pt idx="306">
                  <c:v>408.01679999999902</c:v>
                </c:pt>
                <c:pt idx="307">
                  <c:v>415.80090000000001</c:v>
                </c:pt>
                <c:pt idx="308">
                  <c:v>417.68169999999901</c:v>
                </c:pt>
                <c:pt idx="309">
                  <c:v>412.59570000000002</c:v>
                </c:pt>
                <c:pt idx="310">
                  <c:v>412.32220000000001</c:v>
                </c:pt>
                <c:pt idx="311">
                  <c:v>407.7869</c:v>
                </c:pt>
                <c:pt idx="312">
                  <c:v>407.55430000000001</c:v>
                </c:pt>
                <c:pt idx="313">
                  <c:v>407.654</c:v>
                </c:pt>
                <c:pt idx="314">
                  <c:v>412.4008</c:v>
                </c:pt>
                <c:pt idx="315">
                  <c:v>408.2835</c:v>
                </c:pt>
                <c:pt idx="316">
                  <c:v>407.56740000000002</c:v>
                </c:pt>
                <c:pt idx="317">
                  <c:v>405.78870000000001</c:v>
                </c:pt>
                <c:pt idx="318">
                  <c:v>403.02890000000002</c:v>
                </c:pt>
                <c:pt idx="319">
                  <c:v>401.81459999999902</c:v>
                </c:pt>
                <c:pt idx="320">
                  <c:v>401.8553</c:v>
                </c:pt>
                <c:pt idx="321">
                  <c:v>401.47629999999901</c:v>
                </c:pt>
                <c:pt idx="322">
                  <c:v>406.07220000000001</c:v>
                </c:pt>
                <c:pt idx="323">
                  <c:v>401.99590000000001</c:v>
                </c:pt>
                <c:pt idx="324">
                  <c:v>401.93720000000002</c:v>
                </c:pt>
                <c:pt idx="325">
                  <c:v>401.66399999999902</c:v>
                </c:pt>
                <c:pt idx="326">
                  <c:v>401.97410000000002</c:v>
                </c:pt>
                <c:pt idx="327">
                  <c:v>401.91</c:v>
                </c:pt>
                <c:pt idx="328">
                  <c:v>401.48270000000002</c:v>
                </c:pt>
                <c:pt idx="329">
                  <c:v>402.05720000000002</c:v>
                </c:pt>
                <c:pt idx="330">
                  <c:v>401.041</c:v>
                </c:pt>
                <c:pt idx="331">
                  <c:v>402.18189999999902</c:v>
                </c:pt>
                <c:pt idx="332">
                  <c:v>402.62119999999902</c:v>
                </c:pt>
                <c:pt idx="333">
                  <c:v>401.96420000000001</c:v>
                </c:pt>
                <c:pt idx="334">
                  <c:v>401.90969999999902</c:v>
                </c:pt>
                <c:pt idx="335">
                  <c:v>401.83210000000003</c:v>
                </c:pt>
                <c:pt idx="336">
                  <c:v>401.5102</c:v>
                </c:pt>
                <c:pt idx="337">
                  <c:v>401.30189999999902</c:v>
                </c:pt>
                <c:pt idx="338">
                  <c:v>401.30810000000002</c:v>
                </c:pt>
                <c:pt idx="339">
                  <c:v>401.15339999999901</c:v>
                </c:pt>
                <c:pt idx="340">
                  <c:v>400.9674</c:v>
                </c:pt>
                <c:pt idx="341">
                  <c:v>400.81659999999903</c:v>
                </c:pt>
                <c:pt idx="342">
                  <c:v>400.76729999999901</c:v>
                </c:pt>
                <c:pt idx="343">
                  <c:v>400.72269999999901</c:v>
                </c:pt>
                <c:pt idx="344">
                  <c:v>400.68450000000001</c:v>
                </c:pt>
                <c:pt idx="345">
                  <c:v>400.50959999999901</c:v>
                </c:pt>
                <c:pt idx="346">
                  <c:v>400.35660000000001</c:v>
                </c:pt>
                <c:pt idx="347">
                  <c:v>400.2131</c:v>
                </c:pt>
                <c:pt idx="348">
                  <c:v>400.05410000000001</c:v>
                </c:pt>
                <c:pt idx="349">
                  <c:v>399.94470000000001</c:v>
                </c:pt>
                <c:pt idx="350">
                  <c:v>399.79590000000002</c:v>
                </c:pt>
                <c:pt idx="351">
                  <c:v>399.7484</c:v>
                </c:pt>
                <c:pt idx="352">
                  <c:v>399.54079999999902</c:v>
                </c:pt>
                <c:pt idx="353">
                  <c:v>399.4151</c:v>
                </c:pt>
                <c:pt idx="354">
                  <c:v>399.54930000000002</c:v>
                </c:pt>
                <c:pt idx="355">
                  <c:v>399.68110000000001</c:v>
                </c:pt>
                <c:pt idx="356">
                  <c:v>399.73140000000001</c:v>
                </c:pt>
                <c:pt idx="357">
                  <c:v>399.69659999999902</c:v>
                </c:pt>
                <c:pt idx="358">
                  <c:v>399.70850000000002</c:v>
                </c:pt>
                <c:pt idx="359">
                  <c:v>399.48700000000002</c:v>
                </c:pt>
                <c:pt idx="360">
                  <c:v>399.11200000000002</c:v>
                </c:pt>
                <c:pt idx="361">
                  <c:v>398.93290000000002</c:v>
                </c:pt>
                <c:pt idx="362">
                  <c:v>398.74200000000002</c:v>
                </c:pt>
                <c:pt idx="363">
                  <c:v>398.66370000000001</c:v>
                </c:pt>
                <c:pt idx="364">
                  <c:v>398.55309999999901</c:v>
                </c:pt>
                <c:pt idx="365">
                  <c:v>398.47770000000003</c:v>
                </c:pt>
                <c:pt idx="366">
                  <c:v>398.39010000000002</c:v>
                </c:pt>
                <c:pt idx="367">
                  <c:v>398.38400000000001</c:v>
                </c:pt>
                <c:pt idx="368">
                  <c:v>398.2242</c:v>
                </c:pt>
                <c:pt idx="369">
                  <c:v>398.17469999999901</c:v>
                </c:pt>
                <c:pt idx="370">
                  <c:v>398.16809999999901</c:v>
                </c:pt>
                <c:pt idx="371">
                  <c:v>398.2405</c:v>
                </c:pt>
                <c:pt idx="372">
                  <c:v>398.29180000000002</c:v>
                </c:pt>
                <c:pt idx="373">
                  <c:v>398.15219999999903</c:v>
                </c:pt>
                <c:pt idx="374">
                  <c:v>398.42469999999901</c:v>
                </c:pt>
                <c:pt idx="375">
                  <c:v>398.3304</c:v>
                </c:pt>
                <c:pt idx="376">
                  <c:v>397.96660000000003</c:v>
                </c:pt>
                <c:pt idx="377">
                  <c:v>398.2364</c:v>
                </c:pt>
                <c:pt idx="378">
                  <c:v>397.80829999999901</c:v>
                </c:pt>
                <c:pt idx="379">
                  <c:v>397.83019999999902</c:v>
                </c:pt>
                <c:pt idx="380">
                  <c:v>397.78089999999901</c:v>
                </c:pt>
                <c:pt idx="381">
                  <c:v>397.71429999999901</c:v>
                </c:pt>
                <c:pt idx="382">
                  <c:v>397.55239999999901</c:v>
                </c:pt>
                <c:pt idx="383">
                  <c:v>397.48090000000002</c:v>
                </c:pt>
                <c:pt idx="384">
                  <c:v>397.33260000000001</c:v>
                </c:pt>
                <c:pt idx="385">
                  <c:v>397.23419999999902</c:v>
                </c:pt>
                <c:pt idx="386">
                  <c:v>397.21640000000002</c:v>
                </c:pt>
                <c:pt idx="387">
                  <c:v>397.1377</c:v>
                </c:pt>
                <c:pt idx="388">
                  <c:v>397.09589999999901</c:v>
                </c:pt>
                <c:pt idx="389">
                  <c:v>397.09070000000003</c:v>
                </c:pt>
                <c:pt idx="390">
                  <c:v>397.42430000000002</c:v>
                </c:pt>
                <c:pt idx="391">
                  <c:v>397.85770000000002</c:v>
                </c:pt>
                <c:pt idx="392">
                  <c:v>397.29509999999902</c:v>
                </c:pt>
                <c:pt idx="393">
                  <c:v>397.22410000000002</c:v>
                </c:pt>
                <c:pt idx="394">
                  <c:v>397.14030000000002</c:v>
                </c:pt>
                <c:pt idx="395">
                  <c:v>396.81580000000002</c:v>
                </c:pt>
                <c:pt idx="396">
                  <c:v>396.81569999999903</c:v>
                </c:pt>
                <c:pt idx="397">
                  <c:v>396.68810000000002</c:v>
                </c:pt>
                <c:pt idx="398">
                  <c:v>396.4966</c:v>
                </c:pt>
                <c:pt idx="399">
                  <c:v>396.42759999999902</c:v>
                </c:pt>
                <c:pt idx="400">
                  <c:v>396.4393</c:v>
                </c:pt>
                <c:pt idx="401">
                  <c:v>396.41570000000002</c:v>
                </c:pt>
                <c:pt idx="402">
                  <c:v>396.38119999999901</c:v>
                </c:pt>
                <c:pt idx="403">
                  <c:v>396.24829999999901</c:v>
                </c:pt>
                <c:pt idx="404">
                  <c:v>396.202</c:v>
                </c:pt>
                <c:pt idx="405">
                  <c:v>396.15260000000001</c:v>
                </c:pt>
                <c:pt idx="406">
                  <c:v>396.11489999999901</c:v>
                </c:pt>
                <c:pt idx="407">
                  <c:v>396.11380000000003</c:v>
                </c:pt>
                <c:pt idx="408">
                  <c:v>396.00130000000001</c:v>
                </c:pt>
                <c:pt idx="409">
                  <c:v>395.87650000000002</c:v>
                </c:pt>
                <c:pt idx="410">
                  <c:v>396.61410000000001</c:v>
                </c:pt>
                <c:pt idx="411">
                  <c:v>396.75529999999901</c:v>
                </c:pt>
                <c:pt idx="412">
                  <c:v>395.99160000000001</c:v>
                </c:pt>
                <c:pt idx="413">
                  <c:v>396.0317</c:v>
                </c:pt>
                <c:pt idx="414">
                  <c:v>396.34010000000001</c:v>
                </c:pt>
                <c:pt idx="415">
                  <c:v>395.86779999999902</c:v>
                </c:pt>
                <c:pt idx="416">
                  <c:v>395.94260000000003</c:v>
                </c:pt>
                <c:pt idx="417">
                  <c:v>396.0659</c:v>
                </c:pt>
                <c:pt idx="418">
                  <c:v>395.92110000000002</c:v>
                </c:pt>
                <c:pt idx="419">
                  <c:v>395.72890000000001</c:v>
                </c:pt>
                <c:pt idx="420">
                  <c:v>395.83850000000001</c:v>
                </c:pt>
                <c:pt idx="421">
                  <c:v>395.91590000000002</c:v>
                </c:pt>
                <c:pt idx="422">
                  <c:v>395.73020000000002</c:v>
                </c:pt>
                <c:pt idx="423">
                  <c:v>395.62830000000002</c:v>
                </c:pt>
                <c:pt idx="424">
                  <c:v>395.79919999999902</c:v>
                </c:pt>
                <c:pt idx="425">
                  <c:v>395.8673</c:v>
                </c:pt>
                <c:pt idx="426">
                  <c:v>395.8064</c:v>
                </c:pt>
                <c:pt idx="427">
                  <c:v>395.63639999999901</c:v>
                </c:pt>
                <c:pt idx="428">
                  <c:v>395.88810000000001</c:v>
                </c:pt>
                <c:pt idx="429">
                  <c:v>395.94470000000001</c:v>
                </c:pt>
                <c:pt idx="430">
                  <c:v>395.8075</c:v>
                </c:pt>
                <c:pt idx="431">
                  <c:v>395.52850000000001</c:v>
                </c:pt>
                <c:pt idx="432">
                  <c:v>395.58449999999903</c:v>
                </c:pt>
                <c:pt idx="433">
                  <c:v>395.69709999999901</c:v>
                </c:pt>
                <c:pt idx="434">
                  <c:v>395.55079999999901</c:v>
                </c:pt>
                <c:pt idx="435">
                  <c:v>395.22550000000001</c:v>
                </c:pt>
                <c:pt idx="436">
                  <c:v>394.75170000000003</c:v>
                </c:pt>
                <c:pt idx="437">
                  <c:v>394.7373</c:v>
                </c:pt>
                <c:pt idx="438">
                  <c:v>394.72219999999902</c:v>
                </c:pt>
                <c:pt idx="439">
                  <c:v>394.7131</c:v>
                </c:pt>
                <c:pt idx="440">
                  <c:v>394.7165</c:v>
                </c:pt>
                <c:pt idx="441">
                  <c:v>394.70400000000001</c:v>
                </c:pt>
                <c:pt idx="442">
                  <c:v>394.72</c:v>
                </c:pt>
                <c:pt idx="443">
                  <c:v>395.24630000000002</c:v>
                </c:pt>
                <c:pt idx="444">
                  <c:v>395.33929999999901</c:v>
                </c:pt>
                <c:pt idx="445">
                  <c:v>394.79919999999902</c:v>
                </c:pt>
                <c:pt idx="446">
                  <c:v>394.16849999999903</c:v>
                </c:pt>
                <c:pt idx="447">
                  <c:v>394.11680000000001</c:v>
                </c:pt>
                <c:pt idx="448">
                  <c:v>394.43599999999901</c:v>
                </c:pt>
                <c:pt idx="449">
                  <c:v>394.52609999999902</c:v>
                </c:pt>
                <c:pt idx="450">
                  <c:v>394.07209999999901</c:v>
                </c:pt>
                <c:pt idx="451">
                  <c:v>394.53280000000001</c:v>
                </c:pt>
                <c:pt idx="452">
                  <c:v>394.83839999999901</c:v>
                </c:pt>
                <c:pt idx="453">
                  <c:v>394.69529999999901</c:v>
                </c:pt>
                <c:pt idx="454">
                  <c:v>394.60149999999902</c:v>
                </c:pt>
                <c:pt idx="455">
                  <c:v>394.46800000000002</c:v>
                </c:pt>
                <c:pt idx="456">
                  <c:v>394.46539999999902</c:v>
                </c:pt>
                <c:pt idx="457">
                  <c:v>394.6352</c:v>
                </c:pt>
                <c:pt idx="458">
                  <c:v>394.90249999999901</c:v>
                </c:pt>
                <c:pt idx="459">
                  <c:v>394.87009999999901</c:v>
                </c:pt>
                <c:pt idx="460">
                  <c:v>395.29079999999902</c:v>
                </c:pt>
                <c:pt idx="461">
                  <c:v>395.42779999999902</c:v>
                </c:pt>
                <c:pt idx="462">
                  <c:v>394.24950000000001</c:v>
                </c:pt>
                <c:pt idx="463">
                  <c:v>393.40929999999901</c:v>
                </c:pt>
                <c:pt idx="464">
                  <c:v>393.90109999999902</c:v>
                </c:pt>
                <c:pt idx="465">
                  <c:v>393.48910000000001</c:v>
                </c:pt>
                <c:pt idx="466">
                  <c:v>393.34219999999902</c:v>
                </c:pt>
                <c:pt idx="467">
                  <c:v>393.78559999999902</c:v>
                </c:pt>
                <c:pt idx="468">
                  <c:v>393.28500000000003</c:v>
                </c:pt>
                <c:pt idx="469">
                  <c:v>393.79930000000002</c:v>
                </c:pt>
                <c:pt idx="470">
                  <c:v>393.49189999999902</c:v>
                </c:pt>
                <c:pt idx="471">
                  <c:v>393.61840000000001</c:v>
                </c:pt>
                <c:pt idx="472">
                  <c:v>393.68419999999901</c:v>
                </c:pt>
                <c:pt idx="473">
                  <c:v>393.03879999999901</c:v>
                </c:pt>
                <c:pt idx="474">
                  <c:v>393.68970000000002</c:v>
                </c:pt>
                <c:pt idx="475">
                  <c:v>393.08300000000003</c:v>
                </c:pt>
                <c:pt idx="476">
                  <c:v>393.47919999999903</c:v>
                </c:pt>
                <c:pt idx="477">
                  <c:v>393.4778</c:v>
                </c:pt>
                <c:pt idx="478">
                  <c:v>392.70819999999901</c:v>
                </c:pt>
                <c:pt idx="479">
                  <c:v>392.66</c:v>
                </c:pt>
                <c:pt idx="480">
                  <c:v>392.61180000000002</c:v>
                </c:pt>
                <c:pt idx="481">
                  <c:v>392.61989999999901</c:v>
                </c:pt>
                <c:pt idx="482">
                  <c:v>392.55430000000001</c:v>
                </c:pt>
                <c:pt idx="483">
                  <c:v>392.49270000000001</c:v>
                </c:pt>
                <c:pt idx="484">
                  <c:v>392.47199999999901</c:v>
                </c:pt>
                <c:pt idx="485">
                  <c:v>392.39299999999901</c:v>
                </c:pt>
                <c:pt idx="486">
                  <c:v>392.45269999999903</c:v>
                </c:pt>
                <c:pt idx="487">
                  <c:v>392.3614</c:v>
                </c:pt>
                <c:pt idx="488">
                  <c:v>392.44569999999902</c:v>
                </c:pt>
                <c:pt idx="489">
                  <c:v>392.4717</c:v>
                </c:pt>
                <c:pt idx="490">
                  <c:v>392.4563</c:v>
                </c:pt>
                <c:pt idx="491">
                  <c:v>392.69670000000002</c:v>
                </c:pt>
                <c:pt idx="492">
                  <c:v>392.42180000000002</c:v>
                </c:pt>
                <c:pt idx="493">
                  <c:v>392.26760000000002</c:v>
                </c:pt>
                <c:pt idx="494">
                  <c:v>392.25099999999901</c:v>
                </c:pt>
                <c:pt idx="495">
                  <c:v>392.25779999999901</c:v>
                </c:pt>
                <c:pt idx="496">
                  <c:v>392.48009999999903</c:v>
                </c:pt>
                <c:pt idx="497">
                  <c:v>392.0625</c:v>
                </c:pt>
                <c:pt idx="498">
                  <c:v>391.57479999999902</c:v>
                </c:pt>
                <c:pt idx="499">
                  <c:v>391.65100000000001</c:v>
                </c:pt>
                <c:pt idx="500">
                  <c:v>392.08179999999902</c:v>
                </c:pt>
                <c:pt idx="501">
                  <c:v>392.00619999999901</c:v>
                </c:pt>
                <c:pt idx="502">
                  <c:v>392.32389999999901</c:v>
                </c:pt>
                <c:pt idx="503">
                  <c:v>392.57580000000002</c:v>
                </c:pt>
                <c:pt idx="504">
                  <c:v>392.51100000000002</c:v>
                </c:pt>
                <c:pt idx="505">
                  <c:v>392.57650000000001</c:v>
                </c:pt>
                <c:pt idx="506">
                  <c:v>392.53280000000001</c:v>
                </c:pt>
                <c:pt idx="507">
                  <c:v>392.91320000000002</c:v>
                </c:pt>
                <c:pt idx="508">
                  <c:v>393.5849</c:v>
                </c:pt>
                <c:pt idx="509">
                  <c:v>393.6216</c:v>
                </c:pt>
                <c:pt idx="510">
                  <c:v>394.12650000000002</c:v>
                </c:pt>
                <c:pt idx="511">
                  <c:v>394.32249999999902</c:v>
                </c:pt>
                <c:pt idx="512">
                  <c:v>394.02260000000001</c:v>
                </c:pt>
                <c:pt idx="513">
                  <c:v>394.09059999999897</c:v>
                </c:pt>
                <c:pt idx="514">
                  <c:v>394.31009999999901</c:v>
                </c:pt>
                <c:pt idx="515">
                  <c:v>393.64980000000003</c:v>
                </c:pt>
                <c:pt idx="516">
                  <c:v>391.80860000000001</c:v>
                </c:pt>
                <c:pt idx="517">
                  <c:v>390.7133</c:v>
                </c:pt>
                <c:pt idx="518">
                  <c:v>390.96210000000002</c:v>
                </c:pt>
                <c:pt idx="519">
                  <c:v>391.10649999999902</c:v>
                </c:pt>
                <c:pt idx="520">
                  <c:v>390.96539999999902</c:v>
                </c:pt>
                <c:pt idx="521">
                  <c:v>392.56490000000002</c:v>
                </c:pt>
                <c:pt idx="522">
                  <c:v>392.07159999999902</c:v>
                </c:pt>
                <c:pt idx="523">
                  <c:v>389.96230000000003</c:v>
                </c:pt>
                <c:pt idx="524">
                  <c:v>390.04739999999902</c:v>
                </c:pt>
                <c:pt idx="525">
                  <c:v>389.88479999999902</c:v>
                </c:pt>
                <c:pt idx="526">
                  <c:v>389.76060000000001</c:v>
                </c:pt>
                <c:pt idx="527">
                  <c:v>389.77289999999903</c:v>
                </c:pt>
                <c:pt idx="528">
                  <c:v>389.85890000000001</c:v>
                </c:pt>
                <c:pt idx="529">
                  <c:v>389.88330000000002</c:v>
                </c:pt>
                <c:pt idx="530">
                  <c:v>390.01999999999902</c:v>
                </c:pt>
                <c:pt idx="531">
                  <c:v>390.19040000000001</c:v>
                </c:pt>
                <c:pt idx="532">
                  <c:v>389.75999999999902</c:v>
                </c:pt>
                <c:pt idx="533">
                  <c:v>389.74</c:v>
                </c:pt>
                <c:pt idx="534">
                  <c:v>389.7559</c:v>
                </c:pt>
                <c:pt idx="535">
                  <c:v>389.75729999999902</c:v>
                </c:pt>
                <c:pt idx="536">
                  <c:v>389.68700000000001</c:v>
                </c:pt>
                <c:pt idx="537">
                  <c:v>389.59710000000001</c:v>
                </c:pt>
                <c:pt idx="538">
                  <c:v>389.62849999999901</c:v>
                </c:pt>
                <c:pt idx="539">
                  <c:v>389.64170000000001</c:v>
                </c:pt>
                <c:pt idx="540">
                  <c:v>389.5</c:v>
                </c:pt>
                <c:pt idx="541">
                  <c:v>388.48009999999903</c:v>
                </c:pt>
                <c:pt idx="542">
                  <c:v>385.51029999999901</c:v>
                </c:pt>
                <c:pt idx="543">
                  <c:v>383.93360000000001</c:v>
                </c:pt>
                <c:pt idx="544">
                  <c:v>384.33839999999901</c:v>
                </c:pt>
                <c:pt idx="545">
                  <c:v>384.27859999999902</c:v>
                </c:pt>
                <c:pt idx="546">
                  <c:v>383.94290000000001</c:v>
                </c:pt>
                <c:pt idx="547">
                  <c:v>383.9203</c:v>
                </c:pt>
                <c:pt idx="548">
                  <c:v>383.92</c:v>
                </c:pt>
                <c:pt idx="549">
                  <c:v>383.92</c:v>
                </c:pt>
                <c:pt idx="550">
                  <c:v>384.02159999999901</c:v>
                </c:pt>
                <c:pt idx="551">
                  <c:v>383.94970000000001</c:v>
                </c:pt>
                <c:pt idx="552">
                  <c:v>384.08800000000002</c:v>
                </c:pt>
                <c:pt idx="553">
                  <c:v>384.0188</c:v>
                </c:pt>
                <c:pt idx="554">
                  <c:v>384.0061</c:v>
                </c:pt>
                <c:pt idx="555">
                  <c:v>383.99119999999903</c:v>
                </c:pt>
                <c:pt idx="556">
                  <c:v>384.62849999999901</c:v>
                </c:pt>
                <c:pt idx="557">
                  <c:v>384.92529999999903</c:v>
                </c:pt>
                <c:pt idx="558">
                  <c:v>380.76859999999903</c:v>
                </c:pt>
                <c:pt idx="559">
                  <c:v>379.76819999999901</c:v>
                </c:pt>
                <c:pt idx="560">
                  <c:v>379.60919999999902</c:v>
                </c:pt>
                <c:pt idx="561">
                  <c:v>380.07960000000003</c:v>
                </c:pt>
                <c:pt idx="562">
                  <c:v>378.60599999999903</c:v>
                </c:pt>
                <c:pt idx="563">
                  <c:v>379.63409999999902</c:v>
                </c:pt>
                <c:pt idx="564">
                  <c:v>379.4033</c:v>
                </c:pt>
                <c:pt idx="565">
                  <c:v>378.53309999999902</c:v>
                </c:pt>
                <c:pt idx="566">
                  <c:v>377.97890000000001</c:v>
                </c:pt>
                <c:pt idx="567">
                  <c:v>378.0763</c:v>
                </c:pt>
                <c:pt idx="568">
                  <c:v>378.01459999999901</c:v>
                </c:pt>
                <c:pt idx="569">
                  <c:v>377.57909999999902</c:v>
                </c:pt>
                <c:pt idx="570">
                  <c:v>377.6927</c:v>
                </c:pt>
                <c:pt idx="571">
                  <c:v>377.233</c:v>
                </c:pt>
                <c:pt idx="572">
                  <c:v>375.71140000000003</c:v>
                </c:pt>
                <c:pt idx="573">
                  <c:v>375.57960000000003</c:v>
                </c:pt>
                <c:pt idx="574">
                  <c:v>373.47770000000003</c:v>
                </c:pt>
                <c:pt idx="575">
                  <c:v>371.70080000000002</c:v>
                </c:pt>
                <c:pt idx="576">
                  <c:v>372.01960000000003</c:v>
                </c:pt>
                <c:pt idx="577">
                  <c:v>372.52319999999901</c:v>
                </c:pt>
                <c:pt idx="578">
                  <c:v>373.6103</c:v>
                </c:pt>
                <c:pt idx="579">
                  <c:v>372.43290000000002</c:v>
                </c:pt>
                <c:pt idx="580">
                  <c:v>376.79640000000001</c:v>
                </c:pt>
                <c:pt idx="581">
                  <c:v>379.12060000000002</c:v>
                </c:pt>
                <c:pt idx="582">
                  <c:v>372.70740000000001</c:v>
                </c:pt>
                <c:pt idx="583">
                  <c:v>375.4563</c:v>
                </c:pt>
                <c:pt idx="584">
                  <c:v>372.45150000000001</c:v>
                </c:pt>
                <c:pt idx="585">
                  <c:v>373.03660000000002</c:v>
                </c:pt>
                <c:pt idx="586">
                  <c:v>376.38049999999902</c:v>
                </c:pt>
                <c:pt idx="587">
                  <c:v>371.07690000000002</c:v>
                </c:pt>
                <c:pt idx="588">
                  <c:v>370.18459999999902</c:v>
                </c:pt>
                <c:pt idx="589">
                  <c:v>369.2183</c:v>
                </c:pt>
                <c:pt idx="590">
                  <c:v>371.27229999999901</c:v>
                </c:pt>
                <c:pt idx="591">
                  <c:v>370.82119999999901</c:v>
                </c:pt>
                <c:pt idx="592">
                  <c:v>370.22410000000002</c:v>
                </c:pt>
                <c:pt idx="593">
                  <c:v>369.74639999999903</c:v>
                </c:pt>
                <c:pt idx="594">
                  <c:v>370.13010000000003</c:v>
                </c:pt>
                <c:pt idx="595">
                  <c:v>371.15429999999901</c:v>
                </c:pt>
                <c:pt idx="596">
                  <c:v>370.13619999999901</c:v>
                </c:pt>
                <c:pt idx="597">
                  <c:v>369.99740000000003</c:v>
                </c:pt>
                <c:pt idx="598">
                  <c:v>371.5684</c:v>
                </c:pt>
                <c:pt idx="599">
                  <c:v>372.5883</c:v>
                </c:pt>
                <c:pt idx="600">
                  <c:v>369.52850000000001</c:v>
                </c:pt>
                <c:pt idx="601">
                  <c:v>369.9375</c:v>
                </c:pt>
                <c:pt idx="602">
                  <c:v>369.71230000000003</c:v>
                </c:pt>
                <c:pt idx="603">
                  <c:v>369.23630000000003</c:v>
                </c:pt>
                <c:pt idx="604">
                  <c:v>369.11529999999902</c:v>
                </c:pt>
                <c:pt idx="605">
                  <c:v>368.95409999999902</c:v>
                </c:pt>
                <c:pt idx="606">
                  <c:v>369.49149999999901</c:v>
                </c:pt>
                <c:pt idx="607">
                  <c:v>369.06130000000002</c:v>
                </c:pt>
                <c:pt idx="608">
                  <c:v>368.35419999999903</c:v>
                </c:pt>
                <c:pt idx="609">
                  <c:v>368.73160000000001</c:v>
                </c:pt>
                <c:pt idx="610">
                  <c:v>368.76119999999901</c:v>
                </c:pt>
                <c:pt idx="611">
                  <c:v>368.18169999999901</c:v>
                </c:pt>
                <c:pt idx="612">
                  <c:v>368.46839999999901</c:v>
                </c:pt>
                <c:pt idx="613">
                  <c:v>372.9581</c:v>
                </c:pt>
                <c:pt idx="614">
                  <c:v>374.83879999999903</c:v>
                </c:pt>
                <c:pt idx="615">
                  <c:v>371.24919999999901</c:v>
                </c:pt>
                <c:pt idx="616">
                  <c:v>371.59899999999902</c:v>
                </c:pt>
                <c:pt idx="617">
                  <c:v>367.71420000000001</c:v>
                </c:pt>
                <c:pt idx="618">
                  <c:v>367.89569999999901</c:v>
                </c:pt>
                <c:pt idx="619">
                  <c:v>367.27030000000002</c:v>
                </c:pt>
                <c:pt idx="620">
                  <c:v>368.41590000000002</c:v>
                </c:pt>
                <c:pt idx="621">
                  <c:v>367.34730000000002</c:v>
                </c:pt>
                <c:pt idx="622">
                  <c:v>366.31999999999903</c:v>
                </c:pt>
                <c:pt idx="623">
                  <c:v>366.07060000000001</c:v>
                </c:pt>
                <c:pt idx="624">
                  <c:v>365.94670000000002</c:v>
                </c:pt>
                <c:pt idx="625">
                  <c:v>365.90460000000002</c:v>
                </c:pt>
                <c:pt idx="626">
                  <c:v>365.68369999999902</c:v>
                </c:pt>
                <c:pt idx="627">
                  <c:v>365.6592</c:v>
                </c:pt>
                <c:pt idx="628">
                  <c:v>365.71280000000002</c:v>
                </c:pt>
                <c:pt idx="629">
                  <c:v>366.03120000000001</c:v>
                </c:pt>
                <c:pt idx="630">
                  <c:v>368.6497</c:v>
                </c:pt>
                <c:pt idx="631">
                  <c:v>367.44330000000002</c:v>
                </c:pt>
                <c:pt idx="632">
                  <c:v>366.15949999999901</c:v>
                </c:pt>
                <c:pt idx="633">
                  <c:v>364.7242</c:v>
                </c:pt>
                <c:pt idx="634">
                  <c:v>364.44009999999901</c:v>
                </c:pt>
                <c:pt idx="635">
                  <c:v>364.37099999999901</c:v>
                </c:pt>
                <c:pt idx="636">
                  <c:v>363.46469999999903</c:v>
                </c:pt>
                <c:pt idx="637">
                  <c:v>363.18419999999901</c:v>
                </c:pt>
                <c:pt idx="638">
                  <c:v>363.5394</c:v>
                </c:pt>
                <c:pt idx="639">
                  <c:v>363.85289999999901</c:v>
                </c:pt>
                <c:pt idx="640">
                  <c:v>363.30220000000003</c:v>
                </c:pt>
                <c:pt idx="641">
                  <c:v>362.91430000000003</c:v>
                </c:pt>
                <c:pt idx="642">
                  <c:v>362.99549999999903</c:v>
                </c:pt>
                <c:pt idx="643">
                  <c:v>364.27789999999902</c:v>
                </c:pt>
                <c:pt idx="644">
                  <c:v>361.44310000000002</c:v>
                </c:pt>
                <c:pt idx="645">
                  <c:v>361.22919999999903</c:v>
                </c:pt>
                <c:pt idx="646">
                  <c:v>362.38869999999901</c:v>
                </c:pt>
                <c:pt idx="647">
                  <c:v>360.3691</c:v>
                </c:pt>
                <c:pt idx="648">
                  <c:v>363.4468</c:v>
                </c:pt>
                <c:pt idx="649">
                  <c:v>362.4461</c:v>
                </c:pt>
                <c:pt idx="650">
                  <c:v>359.72719999999902</c:v>
                </c:pt>
                <c:pt idx="651">
                  <c:v>359.70699999999903</c:v>
                </c:pt>
                <c:pt idx="652">
                  <c:v>359.72370000000001</c:v>
                </c:pt>
                <c:pt idx="653">
                  <c:v>359.91390000000001</c:v>
                </c:pt>
                <c:pt idx="654">
                  <c:v>359.7296</c:v>
                </c:pt>
                <c:pt idx="655">
                  <c:v>359.83179999999902</c:v>
                </c:pt>
                <c:pt idx="656">
                  <c:v>358.86950000000002</c:v>
                </c:pt>
                <c:pt idx="657">
                  <c:v>358.66660000000002</c:v>
                </c:pt>
                <c:pt idx="658">
                  <c:v>358.44040000000001</c:v>
                </c:pt>
                <c:pt idx="659">
                  <c:v>358.11540000000002</c:v>
                </c:pt>
                <c:pt idx="660">
                  <c:v>357.51440000000002</c:v>
                </c:pt>
                <c:pt idx="661">
                  <c:v>357.25119999999902</c:v>
                </c:pt>
                <c:pt idx="662">
                  <c:v>357.29500000000002</c:v>
                </c:pt>
                <c:pt idx="663">
                  <c:v>357.06060000000002</c:v>
                </c:pt>
                <c:pt idx="664">
                  <c:v>357.1223</c:v>
                </c:pt>
                <c:pt idx="665">
                  <c:v>358.65019999999902</c:v>
                </c:pt>
                <c:pt idx="666">
                  <c:v>356.0204</c:v>
                </c:pt>
                <c:pt idx="667">
                  <c:v>356.30790000000002</c:v>
                </c:pt>
                <c:pt idx="668">
                  <c:v>357.0514</c:v>
                </c:pt>
                <c:pt idx="669">
                  <c:v>357.85899999999901</c:v>
                </c:pt>
                <c:pt idx="670">
                  <c:v>353.95299999999901</c:v>
                </c:pt>
                <c:pt idx="671">
                  <c:v>353.5643</c:v>
                </c:pt>
                <c:pt idx="672">
                  <c:v>354.3229</c:v>
                </c:pt>
                <c:pt idx="673">
                  <c:v>353.50369999999901</c:v>
                </c:pt>
                <c:pt idx="674">
                  <c:v>353.28530000000001</c:v>
                </c:pt>
                <c:pt idx="675">
                  <c:v>354.31810000000002</c:v>
                </c:pt>
                <c:pt idx="676">
                  <c:v>353.08940000000001</c:v>
                </c:pt>
                <c:pt idx="677">
                  <c:v>352.44290000000001</c:v>
                </c:pt>
                <c:pt idx="678">
                  <c:v>352.21510000000001</c:v>
                </c:pt>
                <c:pt idx="679">
                  <c:v>352.83499999999901</c:v>
                </c:pt>
                <c:pt idx="680">
                  <c:v>351.98259999999902</c:v>
                </c:pt>
                <c:pt idx="681">
                  <c:v>351.50869999999901</c:v>
                </c:pt>
                <c:pt idx="682">
                  <c:v>350.23469999999901</c:v>
                </c:pt>
                <c:pt idx="683">
                  <c:v>350.89100000000002</c:v>
                </c:pt>
                <c:pt idx="684">
                  <c:v>352.7398</c:v>
                </c:pt>
                <c:pt idx="685">
                  <c:v>350.35129999999901</c:v>
                </c:pt>
                <c:pt idx="686">
                  <c:v>351.30689999999902</c:v>
                </c:pt>
                <c:pt idx="687">
                  <c:v>347.4907</c:v>
                </c:pt>
                <c:pt idx="688">
                  <c:v>347.48880000000003</c:v>
                </c:pt>
                <c:pt idx="689">
                  <c:v>351.7047</c:v>
                </c:pt>
                <c:pt idx="690">
                  <c:v>349.56970000000001</c:v>
                </c:pt>
                <c:pt idx="691">
                  <c:v>347.53489999999903</c:v>
                </c:pt>
                <c:pt idx="692">
                  <c:v>347.6585</c:v>
                </c:pt>
                <c:pt idx="693">
                  <c:v>347.89550000000003</c:v>
                </c:pt>
                <c:pt idx="694">
                  <c:v>347.47890000000001</c:v>
                </c:pt>
                <c:pt idx="695">
                  <c:v>347.15069999999901</c:v>
                </c:pt>
                <c:pt idx="696">
                  <c:v>349.93549999999902</c:v>
                </c:pt>
                <c:pt idx="697">
                  <c:v>352.0163</c:v>
                </c:pt>
                <c:pt idx="698">
                  <c:v>347.3374</c:v>
                </c:pt>
                <c:pt idx="699">
                  <c:v>346.33609999999902</c:v>
                </c:pt>
                <c:pt idx="700">
                  <c:v>346.6003</c:v>
                </c:pt>
                <c:pt idx="701">
                  <c:v>346.5795</c:v>
                </c:pt>
                <c:pt idx="702">
                  <c:v>348.053</c:v>
                </c:pt>
                <c:pt idx="703">
                  <c:v>347.6807</c:v>
                </c:pt>
                <c:pt idx="704">
                  <c:v>346.12709999999902</c:v>
                </c:pt>
                <c:pt idx="705">
                  <c:v>345.44830000000002</c:v>
                </c:pt>
                <c:pt idx="706">
                  <c:v>345.19189999999901</c:v>
                </c:pt>
                <c:pt idx="707">
                  <c:v>347.09269999999901</c:v>
                </c:pt>
                <c:pt idx="708">
                  <c:v>348.36939999999902</c:v>
                </c:pt>
                <c:pt idx="709">
                  <c:v>345.32229999999902</c:v>
                </c:pt>
                <c:pt idx="710">
                  <c:v>344.31509999999901</c:v>
                </c:pt>
                <c:pt idx="711">
                  <c:v>344.2758</c:v>
                </c:pt>
                <c:pt idx="712">
                  <c:v>345.11930000000001</c:v>
                </c:pt>
                <c:pt idx="713">
                  <c:v>343.23790000000002</c:v>
                </c:pt>
                <c:pt idx="714">
                  <c:v>342.30880000000002</c:v>
                </c:pt>
                <c:pt idx="715">
                  <c:v>341.79079999999902</c:v>
                </c:pt>
                <c:pt idx="716">
                  <c:v>341.43279999999902</c:v>
                </c:pt>
                <c:pt idx="717">
                  <c:v>341.60610000000003</c:v>
                </c:pt>
                <c:pt idx="718">
                  <c:v>352.19349999999901</c:v>
                </c:pt>
                <c:pt idx="719">
                  <c:v>351.76889999999901</c:v>
                </c:pt>
                <c:pt idx="720">
                  <c:v>344.84660000000002</c:v>
                </c:pt>
                <c:pt idx="721">
                  <c:v>343.78070000000002</c:v>
                </c:pt>
                <c:pt idx="722">
                  <c:v>341.20460000000003</c:v>
                </c:pt>
                <c:pt idx="723">
                  <c:v>341.904</c:v>
                </c:pt>
                <c:pt idx="724">
                  <c:v>341.48439999999903</c:v>
                </c:pt>
                <c:pt idx="725">
                  <c:v>341.06659999999903</c:v>
                </c:pt>
                <c:pt idx="726">
                  <c:v>340.16890000000001</c:v>
                </c:pt>
                <c:pt idx="727">
                  <c:v>340.71620000000001</c:v>
                </c:pt>
                <c:pt idx="728">
                  <c:v>341.952</c:v>
                </c:pt>
                <c:pt idx="729">
                  <c:v>343.31639999999902</c:v>
                </c:pt>
                <c:pt idx="730">
                  <c:v>339.93619999999902</c:v>
                </c:pt>
                <c:pt idx="731">
                  <c:v>340.21179999999902</c:v>
                </c:pt>
                <c:pt idx="732">
                  <c:v>339.66340000000002</c:v>
                </c:pt>
                <c:pt idx="733">
                  <c:v>340.08210000000003</c:v>
                </c:pt>
                <c:pt idx="734">
                  <c:v>339.92329999999902</c:v>
                </c:pt>
                <c:pt idx="735">
                  <c:v>339.33109999999903</c:v>
                </c:pt>
                <c:pt idx="736">
                  <c:v>338.59930000000003</c:v>
                </c:pt>
                <c:pt idx="737">
                  <c:v>338.56999999999903</c:v>
                </c:pt>
                <c:pt idx="738">
                  <c:v>338.30900000000003</c:v>
                </c:pt>
                <c:pt idx="739">
                  <c:v>338.34440000000001</c:v>
                </c:pt>
                <c:pt idx="740">
                  <c:v>337.07139999999902</c:v>
                </c:pt>
                <c:pt idx="741">
                  <c:v>337.54520000000002</c:v>
                </c:pt>
                <c:pt idx="742">
                  <c:v>338.59699999999901</c:v>
                </c:pt>
                <c:pt idx="743">
                  <c:v>338.52929999999901</c:v>
                </c:pt>
                <c:pt idx="744">
                  <c:v>339.51670000000001</c:v>
                </c:pt>
                <c:pt idx="745">
                  <c:v>338.19900000000001</c:v>
                </c:pt>
                <c:pt idx="746">
                  <c:v>337.70870000000002</c:v>
                </c:pt>
                <c:pt idx="747">
                  <c:v>333.80360000000002</c:v>
                </c:pt>
                <c:pt idx="748">
                  <c:v>335.64490000000001</c:v>
                </c:pt>
                <c:pt idx="749">
                  <c:v>333.71769999999901</c:v>
                </c:pt>
                <c:pt idx="750">
                  <c:v>332.5059</c:v>
                </c:pt>
                <c:pt idx="751">
                  <c:v>334.6628</c:v>
                </c:pt>
                <c:pt idx="752">
                  <c:v>331.00959999999901</c:v>
                </c:pt>
                <c:pt idx="753">
                  <c:v>329.33710000000002</c:v>
                </c:pt>
                <c:pt idx="754">
                  <c:v>328.9477</c:v>
                </c:pt>
                <c:pt idx="755">
                  <c:v>328.3365</c:v>
                </c:pt>
                <c:pt idx="756">
                  <c:v>329.2473</c:v>
                </c:pt>
                <c:pt idx="757">
                  <c:v>328.65019999999902</c:v>
                </c:pt>
                <c:pt idx="758">
                  <c:v>328.94150000000002</c:v>
                </c:pt>
                <c:pt idx="759">
                  <c:v>327.34550000000002</c:v>
                </c:pt>
                <c:pt idx="760">
                  <c:v>326.19569999999902</c:v>
                </c:pt>
                <c:pt idx="761">
                  <c:v>326.91590000000002</c:v>
                </c:pt>
                <c:pt idx="762">
                  <c:v>325.9502</c:v>
                </c:pt>
                <c:pt idx="763">
                  <c:v>325.48570000000001</c:v>
                </c:pt>
                <c:pt idx="764">
                  <c:v>326.53160000000003</c:v>
                </c:pt>
                <c:pt idx="765">
                  <c:v>325.81760000000003</c:v>
                </c:pt>
                <c:pt idx="766">
                  <c:v>323.53750000000002</c:v>
                </c:pt>
                <c:pt idx="767">
                  <c:v>323.76530000000002</c:v>
                </c:pt>
                <c:pt idx="768">
                  <c:v>321.94720000000001</c:v>
                </c:pt>
                <c:pt idx="769">
                  <c:v>322.97160000000002</c:v>
                </c:pt>
                <c:pt idx="770">
                  <c:v>332.72329999999903</c:v>
                </c:pt>
                <c:pt idx="771">
                  <c:v>342.42579999999901</c:v>
                </c:pt>
                <c:pt idx="772">
                  <c:v>349.2518</c:v>
                </c:pt>
                <c:pt idx="773">
                  <c:v>338.51339999999902</c:v>
                </c:pt>
                <c:pt idx="774">
                  <c:v>318.85950000000003</c:v>
                </c:pt>
                <c:pt idx="775">
                  <c:v>323.82859999999903</c:v>
                </c:pt>
                <c:pt idx="776">
                  <c:v>318.42619999999903</c:v>
                </c:pt>
                <c:pt idx="777">
                  <c:v>318.57330000000002</c:v>
                </c:pt>
                <c:pt idx="778">
                  <c:v>317.45929999999902</c:v>
                </c:pt>
                <c:pt idx="779">
                  <c:v>315.51710000000003</c:v>
                </c:pt>
                <c:pt idx="780">
                  <c:v>312.90289999999902</c:v>
                </c:pt>
                <c:pt idx="781">
                  <c:v>312.20420000000001</c:v>
                </c:pt>
                <c:pt idx="782">
                  <c:v>311.31630000000001</c:v>
                </c:pt>
                <c:pt idx="783">
                  <c:v>312.27760000000001</c:v>
                </c:pt>
                <c:pt idx="784">
                  <c:v>311.41750000000002</c:v>
                </c:pt>
                <c:pt idx="785">
                  <c:v>316.8784</c:v>
                </c:pt>
                <c:pt idx="786">
                  <c:v>312.62060000000002</c:v>
                </c:pt>
                <c:pt idx="787">
                  <c:v>311.14440000000002</c:v>
                </c:pt>
                <c:pt idx="788">
                  <c:v>313.25580000000002</c:v>
                </c:pt>
                <c:pt idx="789">
                  <c:v>310.71730000000002</c:v>
                </c:pt>
                <c:pt idx="790">
                  <c:v>315.74349999999902</c:v>
                </c:pt>
                <c:pt idx="791">
                  <c:v>308.93470000000002</c:v>
                </c:pt>
                <c:pt idx="792">
                  <c:v>314.77480000000003</c:v>
                </c:pt>
                <c:pt idx="793">
                  <c:v>308.6345</c:v>
                </c:pt>
                <c:pt idx="794">
                  <c:v>310.99450000000002</c:v>
                </c:pt>
                <c:pt idx="795">
                  <c:v>311.34030000000001</c:v>
                </c:pt>
                <c:pt idx="796">
                  <c:v>310.90030000000002</c:v>
                </c:pt>
                <c:pt idx="797">
                  <c:v>310.4006</c:v>
                </c:pt>
                <c:pt idx="798">
                  <c:v>310.19299999999902</c:v>
                </c:pt>
                <c:pt idx="799">
                  <c:v>309.85050000000001</c:v>
                </c:pt>
                <c:pt idx="800">
                  <c:v>309.8689</c:v>
                </c:pt>
                <c:pt idx="801">
                  <c:v>310.83179999999902</c:v>
                </c:pt>
                <c:pt idx="802">
                  <c:v>311.51089999999903</c:v>
                </c:pt>
                <c:pt idx="803">
                  <c:v>311.78629999999902</c:v>
                </c:pt>
                <c:pt idx="804">
                  <c:v>311.98099999999903</c:v>
                </c:pt>
                <c:pt idx="805">
                  <c:v>311.98869999999903</c:v>
                </c:pt>
                <c:pt idx="806">
                  <c:v>311.05020000000002</c:v>
                </c:pt>
                <c:pt idx="807">
                  <c:v>310.6155</c:v>
                </c:pt>
                <c:pt idx="808">
                  <c:v>309.70519999999902</c:v>
                </c:pt>
                <c:pt idx="809">
                  <c:v>308.08819999999901</c:v>
                </c:pt>
                <c:pt idx="810">
                  <c:v>308.28070000000002</c:v>
                </c:pt>
                <c:pt idx="811">
                  <c:v>309.97269999999901</c:v>
                </c:pt>
                <c:pt idx="812">
                  <c:v>308.72030000000001</c:v>
                </c:pt>
                <c:pt idx="813">
                  <c:v>307.98340000000002</c:v>
                </c:pt>
                <c:pt idx="814">
                  <c:v>313.23050000000001</c:v>
                </c:pt>
                <c:pt idx="815">
                  <c:v>317.28399999999903</c:v>
                </c:pt>
                <c:pt idx="816">
                  <c:v>322.62400000000002</c:v>
                </c:pt>
                <c:pt idx="817">
                  <c:v>329.07139999999902</c:v>
                </c:pt>
                <c:pt idx="818">
                  <c:v>328.10809999999901</c:v>
                </c:pt>
                <c:pt idx="819">
                  <c:v>306.11930000000001</c:v>
                </c:pt>
                <c:pt idx="820">
                  <c:v>306.18790000000001</c:v>
                </c:pt>
                <c:pt idx="821">
                  <c:v>304.6413</c:v>
                </c:pt>
                <c:pt idx="822">
                  <c:v>307.0478</c:v>
                </c:pt>
                <c:pt idx="823">
                  <c:v>305.05349999999902</c:v>
                </c:pt>
                <c:pt idx="824">
                  <c:v>305.54509999999902</c:v>
                </c:pt>
                <c:pt idx="825">
                  <c:v>311.4008</c:v>
                </c:pt>
                <c:pt idx="826">
                  <c:v>305.56310000000002</c:v>
                </c:pt>
                <c:pt idx="827">
                  <c:v>312.97190000000001</c:v>
                </c:pt>
                <c:pt idx="828">
                  <c:v>321.99900000000002</c:v>
                </c:pt>
                <c:pt idx="829">
                  <c:v>313.77140000000003</c:v>
                </c:pt>
                <c:pt idx="830">
                  <c:v>309.13510000000002</c:v>
                </c:pt>
                <c:pt idx="831">
                  <c:v>307.1782</c:v>
                </c:pt>
                <c:pt idx="832">
                  <c:v>307.76859999999903</c:v>
                </c:pt>
                <c:pt idx="833">
                  <c:v>313.26249999999902</c:v>
                </c:pt>
                <c:pt idx="834">
                  <c:v>305.80950000000001</c:v>
                </c:pt>
                <c:pt idx="835">
                  <c:v>304.79199999999901</c:v>
                </c:pt>
                <c:pt idx="836">
                  <c:v>302.65100000000001</c:v>
                </c:pt>
                <c:pt idx="837">
                  <c:v>301.0455</c:v>
                </c:pt>
                <c:pt idx="838">
                  <c:v>302.32170000000002</c:v>
                </c:pt>
                <c:pt idx="839">
                  <c:v>300.24349999999902</c:v>
                </c:pt>
                <c:pt idx="840">
                  <c:v>305.94040000000001</c:v>
                </c:pt>
                <c:pt idx="841">
                  <c:v>299.74090000000001</c:v>
                </c:pt>
                <c:pt idx="842">
                  <c:v>303.2133</c:v>
                </c:pt>
                <c:pt idx="843">
                  <c:v>300.57819999999901</c:v>
                </c:pt>
                <c:pt idx="844">
                  <c:v>299.48719999999901</c:v>
                </c:pt>
                <c:pt idx="845">
                  <c:v>300.66079999999903</c:v>
                </c:pt>
                <c:pt idx="846">
                  <c:v>302.13150000000002</c:v>
                </c:pt>
                <c:pt idx="847">
                  <c:v>306.78399999999903</c:v>
                </c:pt>
                <c:pt idx="848">
                  <c:v>310.10939999999903</c:v>
                </c:pt>
                <c:pt idx="849">
                  <c:v>306.51600000000002</c:v>
                </c:pt>
                <c:pt idx="850">
                  <c:v>297.62869999999901</c:v>
                </c:pt>
                <c:pt idx="851">
                  <c:v>298.81060000000002</c:v>
                </c:pt>
                <c:pt idx="852">
                  <c:v>298.5752</c:v>
                </c:pt>
                <c:pt idx="853">
                  <c:v>298.57260000000002</c:v>
                </c:pt>
                <c:pt idx="854">
                  <c:v>299.3451</c:v>
                </c:pt>
                <c:pt idx="855">
                  <c:v>298.8614</c:v>
                </c:pt>
                <c:pt idx="856">
                  <c:v>299.84890000000001</c:v>
                </c:pt>
                <c:pt idx="857">
                  <c:v>297.93680000000001</c:v>
                </c:pt>
                <c:pt idx="858">
                  <c:v>298.30279999999902</c:v>
                </c:pt>
                <c:pt idx="859">
                  <c:v>293.97230000000002</c:v>
                </c:pt>
                <c:pt idx="860">
                  <c:v>294.81470000000002</c:v>
                </c:pt>
                <c:pt idx="861">
                  <c:v>295.79129999999901</c:v>
                </c:pt>
                <c:pt idx="862">
                  <c:v>295.10750000000002</c:v>
                </c:pt>
                <c:pt idx="863">
                  <c:v>295.1404</c:v>
                </c:pt>
                <c:pt idx="864">
                  <c:v>294.44819999999902</c:v>
                </c:pt>
                <c:pt idx="865">
                  <c:v>295.7396</c:v>
                </c:pt>
                <c:pt idx="866">
                  <c:v>293.12200000000001</c:v>
                </c:pt>
                <c:pt idx="867">
                  <c:v>292.70310000000001</c:v>
                </c:pt>
                <c:pt idx="868">
                  <c:v>292.49020000000002</c:v>
                </c:pt>
                <c:pt idx="869">
                  <c:v>293.06779999999901</c:v>
                </c:pt>
                <c:pt idx="870">
                  <c:v>291.86709999999903</c:v>
                </c:pt>
                <c:pt idx="871">
                  <c:v>292.0446</c:v>
                </c:pt>
                <c:pt idx="872">
                  <c:v>291.68889999999902</c:v>
                </c:pt>
                <c:pt idx="873">
                  <c:v>292.1866</c:v>
                </c:pt>
                <c:pt idx="874">
                  <c:v>292.31310000000002</c:v>
                </c:pt>
                <c:pt idx="875">
                  <c:v>295.6832</c:v>
                </c:pt>
                <c:pt idx="876">
                  <c:v>296.00369999999901</c:v>
                </c:pt>
                <c:pt idx="877">
                  <c:v>291.54649999999901</c:v>
                </c:pt>
                <c:pt idx="878">
                  <c:v>291.74040000000002</c:v>
                </c:pt>
                <c:pt idx="879">
                  <c:v>291.56150000000002</c:v>
                </c:pt>
                <c:pt idx="880">
                  <c:v>289.15289999999902</c:v>
                </c:pt>
                <c:pt idx="881">
                  <c:v>290.0215</c:v>
                </c:pt>
                <c:pt idx="882">
                  <c:v>290.21159999999901</c:v>
                </c:pt>
                <c:pt idx="883">
                  <c:v>300.57830000000001</c:v>
                </c:pt>
                <c:pt idx="884">
                  <c:v>302.78719999999902</c:v>
                </c:pt>
                <c:pt idx="885">
                  <c:v>305.62060000000002</c:v>
                </c:pt>
                <c:pt idx="886">
                  <c:v>297.12990000000002</c:v>
                </c:pt>
                <c:pt idx="887">
                  <c:v>291.5378</c:v>
                </c:pt>
                <c:pt idx="888">
                  <c:v>288.95890000000003</c:v>
                </c:pt>
                <c:pt idx="889">
                  <c:v>294.71109999999902</c:v>
                </c:pt>
                <c:pt idx="890">
                  <c:v>293.14229999999901</c:v>
                </c:pt>
                <c:pt idx="891">
                  <c:v>289.8014</c:v>
                </c:pt>
                <c:pt idx="892">
                  <c:v>286.65179999999901</c:v>
                </c:pt>
                <c:pt idx="893">
                  <c:v>288.23579999999902</c:v>
                </c:pt>
                <c:pt idx="894">
                  <c:v>287.31209999999902</c:v>
                </c:pt>
                <c:pt idx="895">
                  <c:v>286.9991</c:v>
                </c:pt>
                <c:pt idx="896">
                  <c:v>285.31670000000003</c:v>
                </c:pt>
                <c:pt idx="897">
                  <c:v>286.00360000000001</c:v>
                </c:pt>
                <c:pt idx="898">
                  <c:v>285.15660000000003</c:v>
                </c:pt>
                <c:pt idx="899">
                  <c:v>285.69420000000002</c:v>
                </c:pt>
                <c:pt idx="900">
                  <c:v>284.89019999999903</c:v>
                </c:pt>
                <c:pt idx="901">
                  <c:v>284.99470000000002</c:v>
                </c:pt>
                <c:pt idx="902">
                  <c:v>287.03399999999903</c:v>
                </c:pt>
                <c:pt idx="903">
                  <c:v>286.71010000000001</c:v>
                </c:pt>
                <c:pt idx="904">
                  <c:v>286.6574</c:v>
                </c:pt>
                <c:pt idx="905">
                  <c:v>287.07859999999903</c:v>
                </c:pt>
                <c:pt idx="906">
                  <c:v>286.90440000000001</c:v>
                </c:pt>
                <c:pt idx="907">
                  <c:v>288.8295</c:v>
                </c:pt>
                <c:pt idx="908">
                  <c:v>284.68529999999902</c:v>
                </c:pt>
                <c:pt idx="909">
                  <c:v>284.56220000000002</c:v>
                </c:pt>
                <c:pt idx="910">
                  <c:v>284.58980000000003</c:v>
                </c:pt>
                <c:pt idx="911">
                  <c:v>284.08859999999902</c:v>
                </c:pt>
                <c:pt idx="912">
                  <c:v>284.79559999999901</c:v>
                </c:pt>
                <c:pt idx="913">
                  <c:v>285.95609999999903</c:v>
                </c:pt>
                <c:pt idx="914">
                  <c:v>286.82999999999902</c:v>
                </c:pt>
                <c:pt idx="915">
                  <c:v>288.31439999999901</c:v>
                </c:pt>
                <c:pt idx="916">
                  <c:v>284.6859</c:v>
                </c:pt>
                <c:pt idx="917">
                  <c:v>282.78989999999902</c:v>
                </c:pt>
                <c:pt idx="918">
                  <c:v>286.01310000000001</c:v>
                </c:pt>
                <c:pt idx="919">
                  <c:v>283.07330000000002</c:v>
                </c:pt>
                <c:pt idx="920">
                  <c:v>282.24579999999901</c:v>
                </c:pt>
                <c:pt idx="921">
                  <c:v>282.31310000000002</c:v>
                </c:pt>
                <c:pt idx="922">
                  <c:v>283.88659999999902</c:v>
                </c:pt>
                <c:pt idx="923">
                  <c:v>282.36599999999902</c:v>
                </c:pt>
                <c:pt idx="924">
                  <c:v>284.9452</c:v>
                </c:pt>
                <c:pt idx="925">
                  <c:v>282.63760000000002</c:v>
                </c:pt>
                <c:pt idx="926">
                  <c:v>283.67140000000001</c:v>
                </c:pt>
                <c:pt idx="927">
                  <c:v>280.99489999999901</c:v>
                </c:pt>
                <c:pt idx="928">
                  <c:v>282.51949999999903</c:v>
                </c:pt>
                <c:pt idx="929">
                  <c:v>281.65609999999901</c:v>
                </c:pt>
                <c:pt idx="930">
                  <c:v>279.22019999999901</c:v>
                </c:pt>
                <c:pt idx="931">
                  <c:v>281.83260000000001</c:v>
                </c:pt>
                <c:pt idx="932">
                  <c:v>282.45260000000002</c:v>
                </c:pt>
                <c:pt idx="933">
                  <c:v>281.60809999999901</c:v>
                </c:pt>
                <c:pt idx="934">
                  <c:v>282.13929999999903</c:v>
                </c:pt>
                <c:pt idx="935">
                  <c:v>282.20499999999902</c:v>
                </c:pt>
                <c:pt idx="936">
                  <c:v>281.92939999999902</c:v>
                </c:pt>
                <c:pt idx="937">
                  <c:v>282.31970000000001</c:v>
                </c:pt>
                <c:pt idx="938">
                  <c:v>282.3861</c:v>
                </c:pt>
                <c:pt idx="939">
                  <c:v>282.81950000000001</c:v>
                </c:pt>
                <c:pt idx="940">
                  <c:v>278.88440000000003</c:v>
                </c:pt>
                <c:pt idx="941">
                  <c:v>279.52539999999902</c:v>
                </c:pt>
                <c:pt idx="942">
                  <c:v>279.99939999999901</c:v>
                </c:pt>
                <c:pt idx="943">
                  <c:v>279.05650000000003</c:v>
                </c:pt>
                <c:pt idx="944">
                  <c:v>279.54169999999903</c:v>
                </c:pt>
                <c:pt idx="945">
                  <c:v>278.80849999999901</c:v>
                </c:pt>
                <c:pt idx="946">
                  <c:v>278.57260000000002</c:v>
                </c:pt>
                <c:pt idx="947">
                  <c:v>278.76350000000002</c:v>
                </c:pt>
                <c:pt idx="948">
                  <c:v>277.91449999999901</c:v>
                </c:pt>
                <c:pt idx="949">
                  <c:v>278.24950000000001</c:v>
                </c:pt>
                <c:pt idx="950">
                  <c:v>277.1746</c:v>
                </c:pt>
                <c:pt idx="951">
                  <c:v>276.01850000000002</c:v>
                </c:pt>
                <c:pt idx="952">
                  <c:v>275.39240000000001</c:v>
                </c:pt>
                <c:pt idx="953">
                  <c:v>275.4932</c:v>
                </c:pt>
                <c:pt idx="954">
                  <c:v>276.64429999999902</c:v>
                </c:pt>
                <c:pt idx="955">
                  <c:v>277.32040000000001</c:v>
                </c:pt>
                <c:pt idx="956">
                  <c:v>275.83420000000001</c:v>
                </c:pt>
                <c:pt idx="957">
                  <c:v>277.06099999999901</c:v>
                </c:pt>
                <c:pt idx="958">
                  <c:v>274.49149999999901</c:v>
                </c:pt>
                <c:pt idx="959">
                  <c:v>274.46260000000001</c:v>
                </c:pt>
                <c:pt idx="960">
                  <c:v>273.2056</c:v>
                </c:pt>
                <c:pt idx="961">
                  <c:v>274.80990000000003</c:v>
                </c:pt>
                <c:pt idx="962">
                  <c:v>273.11610000000002</c:v>
                </c:pt>
                <c:pt idx="963">
                  <c:v>272.32600000000002</c:v>
                </c:pt>
                <c:pt idx="964">
                  <c:v>272.65219999999903</c:v>
                </c:pt>
                <c:pt idx="965">
                  <c:v>273.6139</c:v>
                </c:pt>
                <c:pt idx="966">
                  <c:v>272.32780000000002</c:v>
                </c:pt>
                <c:pt idx="967">
                  <c:v>275.07139999999902</c:v>
                </c:pt>
                <c:pt idx="968">
                  <c:v>275.50740000000002</c:v>
                </c:pt>
                <c:pt idx="969">
                  <c:v>279.06790000000001</c:v>
                </c:pt>
                <c:pt idx="970">
                  <c:v>272.88589999999903</c:v>
                </c:pt>
                <c:pt idx="971">
                  <c:v>272.76729999999901</c:v>
                </c:pt>
                <c:pt idx="972">
                  <c:v>272.32279999999901</c:v>
                </c:pt>
                <c:pt idx="973">
                  <c:v>272.1463</c:v>
                </c:pt>
                <c:pt idx="974">
                  <c:v>271.22820000000002</c:v>
                </c:pt>
                <c:pt idx="975">
                  <c:v>270.94970000000001</c:v>
                </c:pt>
                <c:pt idx="976">
                  <c:v>269.60219999999902</c:v>
                </c:pt>
                <c:pt idx="977">
                  <c:v>270.64420000000001</c:v>
                </c:pt>
                <c:pt idx="978">
                  <c:v>268.58539999999903</c:v>
                </c:pt>
                <c:pt idx="979">
                  <c:v>267.90620000000001</c:v>
                </c:pt>
                <c:pt idx="980">
                  <c:v>269.36399999999901</c:v>
                </c:pt>
                <c:pt idx="981">
                  <c:v>267.73849999999902</c:v>
                </c:pt>
                <c:pt idx="982">
                  <c:v>267.31009999999901</c:v>
                </c:pt>
                <c:pt idx="983">
                  <c:v>267.95830000000001</c:v>
                </c:pt>
                <c:pt idx="984">
                  <c:v>266.59050000000002</c:v>
                </c:pt>
                <c:pt idx="985">
                  <c:v>268.35329999999902</c:v>
                </c:pt>
                <c:pt idx="986">
                  <c:v>266.73590000000002</c:v>
                </c:pt>
                <c:pt idx="987">
                  <c:v>268.91030000000001</c:v>
                </c:pt>
                <c:pt idx="988">
                  <c:v>270.09100000000001</c:v>
                </c:pt>
                <c:pt idx="989">
                  <c:v>266.6696</c:v>
                </c:pt>
                <c:pt idx="990">
                  <c:v>266.64249999999902</c:v>
                </c:pt>
                <c:pt idx="991">
                  <c:v>266.07999999999902</c:v>
                </c:pt>
                <c:pt idx="992">
                  <c:v>267.39210000000003</c:v>
                </c:pt>
                <c:pt idx="993">
                  <c:v>264.95429999999902</c:v>
                </c:pt>
                <c:pt idx="994">
                  <c:v>264.4753</c:v>
                </c:pt>
                <c:pt idx="995">
                  <c:v>262.95299999999901</c:v>
                </c:pt>
                <c:pt idx="996">
                  <c:v>265.22030000000001</c:v>
                </c:pt>
                <c:pt idx="997">
                  <c:v>263.29539999999901</c:v>
                </c:pt>
                <c:pt idx="998">
                  <c:v>264.01310000000001</c:v>
                </c:pt>
                <c:pt idx="999">
                  <c:v>263.63209999999901</c:v>
                </c:pt>
                <c:pt idx="1000">
                  <c:v>263.14019999999903</c:v>
                </c:pt>
                <c:pt idx="1001">
                  <c:v>263.97609999999901</c:v>
                </c:pt>
                <c:pt idx="1002">
                  <c:v>262.5256</c:v>
                </c:pt>
                <c:pt idx="1003">
                  <c:v>261.63560000000001</c:v>
                </c:pt>
                <c:pt idx="1004">
                  <c:v>262.19929999999903</c:v>
                </c:pt>
                <c:pt idx="1005">
                  <c:v>263.62329999999901</c:v>
                </c:pt>
                <c:pt idx="1006">
                  <c:v>262.92500000000001</c:v>
                </c:pt>
                <c:pt idx="1007">
                  <c:v>262.76010000000002</c:v>
                </c:pt>
                <c:pt idx="1008">
                  <c:v>261.39389999999901</c:v>
                </c:pt>
                <c:pt idx="1009">
                  <c:v>261.20589999999902</c:v>
                </c:pt>
                <c:pt idx="1010">
                  <c:v>264.51139999999901</c:v>
                </c:pt>
                <c:pt idx="1011">
                  <c:v>260.44279999999901</c:v>
                </c:pt>
                <c:pt idx="1012">
                  <c:v>260.9443</c:v>
                </c:pt>
                <c:pt idx="1013">
                  <c:v>260.22919999999903</c:v>
                </c:pt>
                <c:pt idx="1014">
                  <c:v>260.56389999999902</c:v>
                </c:pt>
                <c:pt idx="1015">
                  <c:v>260.65120000000002</c:v>
                </c:pt>
                <c:pt idx="1016">
                  <c:v>259.53489999999903</c:v>
                </c:pt>
                <c:pt idx="1017">
                  <c:v>260.00330000000002</c:v>
                </c:pt>
                <c:pt idx="1018">
                  <c:v>259.64819999999901</c:v>
                </c:pt>
                <c:pt idx="1019">
                  <c:v>260.05430000000001</c:v>
                </c:pt>
                <c:pt idx="1020">
                  <c:v>259.37450000000001</c:v>
                </c:pt>
                <c:pt idx="1021">
                  <c:v>258.99110000000002</c:v>
                </c:pt>
                <c:pt idx="1022">
                  <c:v>259.82130000000001</c:v>
                </c:pt>
                <c:pt idx="1023">
                  <c:v>261.24880000000002</c:v>
                </c:pt>
                <c:pt idx="1024">
                  <c:v>262.01889999999901</c:v>
                </c:pt>
                <c:pt idx="1025">
                  <c:v>260.90780000000001</c:v>
                </c:pt>
                <c:pt idx="1026">
                  <c:v>259.35449999999901</c:v>
                </c:pt>
                <c:pt idx="1027">
                  <c:v>258.94819999999902</c:v>
                </c:pt>
                <c:pt idx="1028">
                  <c:v>260.262</c:v>
                </c:pt>
                <c:pt idx="1029">
                  <c:v>258.59199999999902</c:v>
                </c:pt>
                <c:pt idx="1030">
                  <c:v>258.8596</c:v>
                </c:pt>
                <c:pt idx="1031">
                  <c:v>261.096</c:v>
                </c:pt>
                <c:pt idx="1032">
                  <c:v>258.7201</c:v>
                </c:pt>
                <c:pt idx="1033">
                  <c:v>256.92160000000001</c:v>
                </c:pt>
                <c:pt idx="1034">
                  <c:v>255.97300000000001</c:v>
                </c:pt>
                <c:pt idx="1035">
                  <c:v>256.71010000000001</c:v>
                </c:pt>
                <c:pt idx="1036">
                  <c:v>255.476599999999</c:v>
                </c:pt>
                <c:pt idx="1037">
                  <c:v>257.5795</c:v>
                </c:pt>
                <c:pt idx="1038">
                  <c:v>257.49630000000002</c:v>
                </c:pt>
                <c:pt idx="1039">
                  <c:v>255.93620000000001</c:v>
                </c:pt>
                <c:pt idx="1040">
                  <c:v>254.78039999999899</c:v>
                </c:pt>
                <c:pt idx="1041">
                  <c:v>253.73490000000001</c:v>
                </c:pt>
                <c:pt idx="1042">
                  <c:v>254.39949999999899</c:v>
                </c:pt>
                <c:pt idx="1043">
                  <c:v>253.1336</c:v>
                </c:pt>
                <c:pt idx="1044">
                  <c:v>253.47569999999899</c:v>
                </c:pt>
                <c:pt idx="1045">
                  <c:v>252.7764</c:v>
                </c:pt>
                <c:pt idx="1046">
                  <c:v>253.24950000000001</c:v>
                </c:pt>
                <c:pt idx="1047">
                  <c:v>252.74510000000001</c:v>
                </c:pt>
                <c:pt idx="1048">
                  <c:v>251.959</c:v>
                </c:pt>
                <c:pt idx="1049">
                  <c:v>251.0626</c:v>
                </c:pt>
                <c:pt idx="1050">
                  <c:v>251.59020000000001</c:v>
                </c:pt>
                <c:pt idx="1051">
                  <c:v>252.041</c:v>
                </c:pt>
                <c:pt idx="1052">
                  <c:v>253.34960000000001</c:v>
                </c:pt>
                <c:pt idx="1053">
                  <c:v>254.93459999999899</c:v>
                </c:pt>
                <c:pt idx="1054">
                  <c:v>252.91919999999899</c:v>
                </c:pt>
                <c:pt idx="1055">
                  <c:v>252.1037</c:v>
                </c:pt>
                <c:pt idx="1056">
                  <c:v>252.43450000000001</c:v>
                </c:pt>
                <c:pt idx="1057">
                  <c:v>251.23169999999899</c:v>
                </c:pt>
                <c:pt idx="1058">
                  <c:v>250.768</c:v>
                </c:pt>
                <c:pt idx="1059">
                  <c:v>250.2276</c:v>
                </c:pt>
                <c:pt idx="1060">
                  <c:v>250.31639999999899</c:v>
                </c:pt>
                <c:pt idx="1061">
                  <c:v>248.893599999999</c:v>
                </c:pt>
                <c:pt idx="1062">
                  <c:v>248.5163</c:v>
                </c:pt>
                <c:pt idx="1063">
                  <c:v>248.6217</c:v>
                </c:pt>
                <c:pt idx="1064">
                  <c:v>249.8322</c:v>
                </c:pt>
                <c:pt idx="1065">
                  <c:v>252.4777</c:v>
                </c:pt>
                <c:pt idx="1066">
                  <c:v>248.667599999999</c:v>
                </c:pt>
                <c:pt idx="1067">
                  <c:v>250.3844</c:v>
                </c:pt>
                <c:pt idx="1068">
                  <c:v>250.5291</c:v>
                </c:pt>
                <c:pt idx="1069">
                  <c:v>247.68289999999899</c:v>
                </c:pt>
                <c:pt idx="1070">
                  <c:v>246.59039999999899</c:v>
                </c:pt>
                <c:pt idx="1071">
                  <c:v>247.51840000000001</c:v>
                </c:pt>
                <c:pt idx="1072">
                  <c:v>246.3878</c:v>
                </c:pt>
                <c:pt idx="1073">
                  <c:v>245.763399999999</c:v>
                </c:pt>
                <c:pt idx="1074">
                  <c:v>246.3828</c:v>
                </c:pt>
                <c:pt idx="1075">
                  <c:v>245.863599999999</c:v>
                </c:pt>
                <c:pt idx="1076">
                  <c:v>245.4282</c:v>
                </c:pt>
                <c:pt idx="1077">
                  <c:v>245.5103</c:v>
                </c:pt>
                <c:pt idx="1078">
                  <c:v>245.46080000000001</c:v>
                </c:pt>
                <c:pt idx="1079">
                  <c:v>244.9331</c:v>
                </c:pt>
                <c:pt idx="1080">
                  <c:v>246.411</c:v>
                </c:pt>
                <c:pt idx="1081">
                  <c:v>244.4923</c:v>
                </c:pt>
                <c:pt idx="1082">
                  <c:v>243.25460000000001</c:v>
                </c:pt>
                <c:pt idx="1083">
                  <c:v>244.7141</c:v>
                </c:pt>
                <c:pt idx="1084">
                  <c:v>245.00120000000001</c:v>
                </c:pt>
                <c:pt idx="1085">
                  <c:v>246.281399999999</c:v>
                </c:pt>
                <c:pt idx="1086">
                  <c:v>245.3665</c:v>
                </c:pt>
                <c:pt idx="1087">
                  <c:v>247.55170000000001</c:v>
                </c:pt>
                <c:pt idx="1088">
                  <c:v>245.544299999999</c:v>
                </c:pt>
                <c:pt idx="1089">
                  <c:v>247.3775</c:v>
                </c:pt>
                <c:pt idx="1090">
                  <c:v>245.0378</c:v>
                </c:pt>
                <c:pt idx="1091">
                  <c:v>241.45230000000001</c:v>
                </c:pt>
                <c:pt idx="1092">
                  <c:v>243.7775</c:v>
                </c:pt>
                <c:pt idx="1093">
                  <c:v>242.1645</c:v>
                </c:pt>
              </c:numCache>
            </c:numRef>
          </c:yVal>
          <c:smooth val="0"/>
        </c:ser>
        <c:dLbls>
          <c:showLegendKey val="0"/>
          <c:showVal val="0"/>
          <c:showCatName val="0"/>
          <c:showSerName val="0"/>
          <c:showPercent val="0"/>
          <c:showBubbleSize val="0"/>
        </c:dLbls>
        <c:axId val="283200232"/>
        <c:axId val="166907384"/>
      </c:scatterChart>
      <c:valAx>
        <c:axId val="283200232"/>
        <c:scaling>
          <c:orientation val="minMax"/>
        </c:scaling>
        <c:delete val="0"/>
        <c:axPos val="b"/>
        <c:title>
          <c:tx>
            <c:rich>
              <a:bodyPr/>
              <a:lstStyle/>
              <a:p>
                <a:pPr>
                  <a:defRPr/>
                </a:pPr>
                <a:r>
                  <a:rPr lang="en-US"/>
                  <a:t>Distance along river (m)</a:t>
                </a:r>
              </a:p>
            </c:rich>
          </c:tx>
          <c:layout/>
          <c:overlay val="0"/>
        </c:title>
        <c:numFmt formatCode="General" sourceLinked="1"/>
        <c:majorTickMark val="none"/>
        <c:minorTickMark val="none"/>
        <c:tickLblPos val="nextTo"/>
        <c:crossAx val="166907384"/>
        <c:crosses val="autoZero"/>
        <c:crossBetween val="midCat"/>
      </c:valAx>
      <c:valAx>
        <c:axId val="166907384"/>
        <c:scaling>
          <c:orientation val="minMax"/>
        </c:scaling>
        <c:delete val="0"/>
        <c:axPos val="l"/>
        <c:majorGridlines/>
        <c:title>
          <c:tx>
            <c:rich>
              <a:bodyPr/>
              <a:lstStyle/>
              <a:p>
                <a:pPr>
                  <a:defRPr/>
                </a:pPr>
                <a:r>
                  <a:rPr lang="en-US"/>
                  <a:t>Elevation (m)</a:t>
                </a:r>
              </a:p>
            </c:rich>
          </c:tx>
          <c:layout/>
          <c:overlay val="0"/>
        </c:title>
        <c:numFmt formatCode="General" sourceLinked="1"/>
        <c:majorTickMark val="none"/>
        <c:minorTickMark val="none"/>
        <c:tickLblPos val="nextTo"/>
        <c:crossAx val="283200232"/>
        <c:crosses val="autoZero"/>
        <c:crossBetween val="midCat"/>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image" Target="../media/image5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42" name="Rectangle 2"/>
          <p:cNvSpPr>
            <a:spLocks noGrp="1" noChangeArrowheads="1"/>
          </p:cNvSpPr>
          <p:nvPr>
            <p:ph type="hdr" sz="quarter"/>
          </p:nvPr>
        </p:nvSpPr>
        <p:spPr bwMode="auto">
          <a:xfrm>
            <a:off x="0" y="0"/>
            <a:ext cx="3038372" cy="461804"/>
          </a:xfrm>
          <a:prstGeom prst="rect">
            <a:avLst/>
          </a:prstGeom>
          <a:noFill/>
          <a:ln w="9525">
            <a:noFill/>
            <a:miter lim="800000"/>
            <a:headEnd/>
            <a:tailEnd/>
          </a:ln>
          <a:effectLst/>
        </p:spPr>
        <p:txBody>
          <a:bodyPr vert="horz" wrap="square" lIns="92286" tIns="46143" rIns="92286" bIns="46143" numCol="1" anchor="t" anchorCtr="0" compatLnSpc="1">
            <a:prstTxWarp prst="textNoShape">
              <a:avLst/>
            </a:prstTxWarp>
          </a:bodyPr>
          <a:lstStyle>
            <a:lvl1pPr defTabSz="922703">
              <a:defRPr sz="1200"/>
            </a:lvl1pPr>
          </a:lstStyle>
          <a:p>
            <a:pPr>
              <a:defRPr/>
            </a:pPr>
            <a:endParaRPr lang="en-US"/>
          </a:p>
        </p:txBody>
      </p:sp>
      <p:sp>
        <p:nvSpPr>
          <p:cNvPr id="61443" name="Rectangle 3"/>
          <p:cNvSpPr>
            <a:spLocks noGrp="1" noChangeArrowheads="1"/>
          </p:cNvSpPr>
          <p:nvPr>
            <p:ph type="dt" sz="quarter" idx="1"/>
          </p:nvPr>
        </p:nvSpPr>
        <p:spPr bwMode="auto">
          <a:xfrm>
            <a:off x="3972030" y="0"/>
            <a:ext cx="3038371" cy="461804"/>
          </a:xfrm>
          <a:prstGeom prst="rect">
            <a:avLst/>
          </a:prstGeom>
          <a:noFill/>
          <a:ln w="9525">
            <a:noFill/>
            <a:miter lim="800000"/>
            <a:headEnd/>
            <a:tailEnd/>
          </a:ln>
          <a:effectLst/>
        </p:spPr>
        <p:txBody>
          <a:bodyPr vert="horz" wrap="square" lIns="92286" tIns="46143" rIns="92286" bIns="46143" numCol="1" anchor="t" anchorCtr="0" compatLnSpc="1">
            <a:prstTxWarp prst="textNoShape">
              <a:avLst/>
            </a:prstTxWarp>
          </a:bodyPr>
          <a:lstStyle>
            <a:lvl1pPr algn="r" defTabSz="922703">
              <a:defRPr sz="1200"/>
            </a:lvl1pPr>
          </a:lstStyle>
          <a:p>
            <a:pPr>
              <a:defRPr/>
            </a:pPr>
            <a:endParaRPr lang="en-US"/>
          </a:p>
        </p:txBody>
      </p:sp>
      <p:sp>
        <p:nvSpPr>
          <p:cNvPr id="61444" name="Rectangle 4"/>
          <p:cNvSpPr>
            <a:spLocks noGrp="1" noChangeArrowheads="1"/>
          </p:cNvSpPr>
          <p:nvPr>
            <p:ph type="ftr" sz="quarter" idx="2"/>
          </p:nvPr>
        </p:nvSpPr>
        <p:spPr bwMode="auto">
          <a:xfrm>
            <a:off x="0" y="8774271"/>
            <a:ext cx="3038372" cy="461804"/>
          </a:xfrm>
          <a:prstGeom prst="rect">
            <a:avLst/>
          </a:prstGeom>
          <a:noFill/>
          <a:ln w="9525">
            <a:noFill/>
            <a:miter lim="800000"/>
            <a:headEnd/>
            <a:tailEnd/>
          </a:ln>
          <a:effectLst/>
        </p:spPr>
        <p:txBody>
          <a:bodyPr vert="horz" wrap="square" lIns="92286" tIns="46143" rIns="92286" bIns="46143" numCol="1" anchor="b" anchorCtr="0" compatLnSpc="1">
            <a:prstTxWarp prst="textNoShape">
              <a:avLst/>
            </a:prstTxWarp>
          </a:bodyPr>
          <a:lstStyle>
            <a:lvl1pPr defTabSz="922703">
              <a:defRPr sz="1200"/>
            </a:lvl1pPr>
          </a:lstStyle>
          <a:p>
            <a:pPr>
              <a:defRPr/>
            </a:pPr>
            <a:endParaRPr lang="en-US"/>
          </a:p>
        </p:txBody>
      </p:sp>
      <p:sp>
        <p:nvSpPr>
          <p:cNvPr id="61445" name="Rectangle 5"/>
          <p:cNvSpPr>
            <a:spLocks noGrp="1" noChangeArrowheads="1"/>
          </p:cNvSpPr>
          <p:nvPr>
            <p:ph type="sldNum" sz="quarter" idx="3"/>
          </p:nvPr>
        </p:nvSpPr>
        <p:spPr bwMode="auto">
          <a:xfrm>
            <a:off x="3972030" y="8774271"/>
            <a:ext cx="3038371" cy="461804"/>
          </a:xfrm>
          <a:prstGeom prst="rect">
            <a:avLst/>
          </a:prstGeom>
          <a:noFill/>
          <a:ln w="9525">
            <a:noFill/>
            <a:miter lim="800000"/>
            <a:headEnd/>
            <a:tailEnd/>
          </a:ln>
          <a:effectLst/>
        </p:spPr>
        <p:txBody>
          <a:bodyPr vert="horz" wrap="square" lIns="92286" tIns="46143" rIns="92286" bIns="46143" numCol="1" anchor="b" anchorCtr="0" compatLnSpc="1">
            <a:prstTxWarp prst="textNoShape">
              <a:avLst/>
            </a:prstTxWarp>
          </a:bodyPr>
          <a:lstStyle>
            <a:lvl1pPr algn="r" defTabSz="922703">
              <a:defRPr sz="1200"/>
            </a:lvl1pPr>
          </a:lstStyle>
          <a:p>
            <a:pPr>
              <a:defRPr/>
            </a:pPr>
            <a:fld id="{43CE3461-B3C0-46E7-94BE-66E904EA68F9}" type="slidenum">
              <a:rPr lang="en-US"/>
              <a:pPr>
                <a:defRPr/>
              </a:pPr>
              <a:t>‹#›</a:t>
            </a:fld>
            <a:endParaRPr lang="en-US"/>
          </a:p>
        </p:txBody>
      </p:sp>
    </p:spTree>
    <p:extLst>
      <p:ext uri="{BB962C8B-B14F-4D97-AF65-F5344CB8AC3E}">
        <p14:creationId xmlns:p14="http://schemas.microsoft.com/office/powerpoint/2010/main" val="26391981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3038372" cy="461804"/>
          </a:xfrm>
          <a:prstGeom prst="rect">
            <a:avLst/>
          </a:prstGeom>
          <a:noFill/>
          <a:ln w="9525">
            <a:noFill/>
            <a:miter lim="800000"/>
            <a:headEnd/>
            <a:tailEnd/>
          </a:ln>
          <a:effectLst/>
        </p:spPr>
        <p:txBody>
          <a:bodyPr vert="horz" wrap="square" lIns="90851" tIns="45425" rIns="90851" bIns="45425" numCol="1" anchor="t" anchorCtr="0" compatLnSpc="1">
            <a:prstTxWarp prst="textNoShape">
              <a:avLst/>
            </a:prstTxWarp>
          </a:bodyPr>
          <a:lstStyle>
            <a:lvl1pPr>
              <a:defRPr sz="1200"/>
            </a:lvl1pPr>
          </a:lstStyle>
          <a:p>
            <a:pPr>
              <a:defRPr/>
            </a:pPr>
            <a:endParaRPr lang="en-US"/>
          </a:p>
        </p:txBody>
      </p:sp>
      <p:sp>
        <p:nvSpPr>
          <p:cNvPr id="93187" name="Rectangle 3"/>
          <p:cNvSpPr>
            <a:spLocks noGrp="1" noChangeArrowheads="1"/>
          </p:cNvSpPr>
          <p:nvPr>
            <p:ph type="dt" idx="1"/>
          </p:nvPr>
        </p:nvSpPr>
        <p:spPr bwMode="auto">
          <a:xfrm>
            <a:off x="3970437" y="0"/>
            <a:ext cx="3038372" cy="461804"/>
          </a:xfrm>
          <a:prstGeom prst="rect">
            <a:avLst/>
          </a:prstGeom>
          <a:noFill/>
          <a:ln w="9525">
            <a:noFill/>
            <a:miter lim="800000"/>
            <a:headEnd/>
            <a:tailEnd/>
          </a:ln>
          <a:effectLst/>
        </p:spPr>
        <p:txBody>
          <a:bodyPr vert="horz" wrap="square" lIns="90851" tIns="45425" rIns="90851" bIns="45425" numCol="1" anchor="t" anchorCtr="0" compatLnSpc="1">
            <a:prstTxWarp prst="textNoShape">
              <a:avLst/>
            </a:prstTxWarp>
          </a:bodyPr>
          <a:lstStyle>
            <a:lvl1pPr algn="r">
              <a:defRPr sz="1200"/>
            </a:lvl1pPr>
          </a:lstStyle>
          <a:p>
            <a:pPr>
              <a:defRPr/>
            </a:pPr>
            <a:endParaRPr lang="en-US"/>
          </a:p>
        </p:txBody>
      </p:sp>
      <p:sp>
        <p:nvSpPr>
          <p:cNvPr id="55300" name="Rectangle 4"/>
          <p:cNvSpPr>
            <a:spLocks noGrp="1" noRot="1" noChangeAspect="1" noChangeArrowheads="1" noTextEdit="1"/>
          </p:cNvSpPr>
          <p:nvPr>
            <p:ph type="sldImg" idx="2"/>
          </p:nvPr>
        </p:nvSpPr>
        <p:spPr bwMode="auto">
          <a:xfrm>
            <a:off x="1196975" y="693738"/>
            <a:ext cx="4616450" cy="3462337"/>
          </a:xfrm>
          <a:prstGeom prst="rect">
            <a:avLst/>
          </a:prstGeom>
          <a:noFill/>
          <a:ln w="9525">
            <a:solidFill>
              <a:srgbClr val="000000"/>
            </a:solidFill>
            <a:miter lim="800000"/>
            <a:headEnd/>
            <a:tailEnd/>
          </a:ln>
        </p:spPr>
      </p:sp>
      <p:sp>
        <p:nvSpPr>
          <p:cNvPr id="93189" name="Rectangle 5"/>
          <p:cNvSpPr>
            <a:spLocks noGrp="1" noChangeArrowheads="1"/>
          </p:cNvSpPr>
          <p:nvPr>
            <p:ph type="body" sz="quarter" idx="3"/>
          </p:nvPr>
        </p:nvSpPr>
        <p:spPr bwMode="auto">
          <a:xfrm>
            <a:off x="701040" y="4387136"/>
            <a:ext cx="5608320" cy="4156234"/>
          </a:xfrm>
          <a:prstGeom prst="rect">
            <a:avLst/>
          </a:prstGeom>
          <a:noFill/>
          <a:ln w="9525">
            <a:noFill/>
            <a:miter lim="800000"/>
            <a:headEnd/>
            <a:tailEnd/>
          </a:ln>
          <a:effectLst/>
        </p:spPr>
        <p:txBody>
          <a:bodyPr vert="horz" wrap="square" lIns="90851" tIns="45425" rIns="90851" bIns="4542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3190" name="Rectangle 6"/>
          <p:cNvSpPr>
            <a:spLocks noGrp="1" noChangeArrowheads="1"/>
          </p:cNvSpPr>
          <p:nvPr>
            <p:ph type="ftr" sz="quarter" idx="4"/>
          </p:nvPr>
        </p:nvSpPr>
        <p:spPr bwMode="auto">
          <a:xfrm>
            <a:off x="0" y="8772690"/>
            <a:ext cx="3038372" cy="461804"/>
          </a:xfrm>
          <a:prstGeom prst="rect">
            <a:avLst/>
          </a:prstGeom>
          <a:noFill/>
          <a:ln w="9525">
            <a:noFill/>
            <a:miter lim="800000"/>
            <a:headEnd/>
            <a:tailEnd/>
          </a:ln>
          <a:effectLst/>
        </p:spPr>
        <p:txBody>
          <a:bodyPr vert="horz" wrap="square" lIns="90851" tIns="45425" rIns="90851" bIns="45425" numCol="1" anchor="b" anchorCtr="0" compatLnSpc="1">
            <a:prstTxWarp prst="textNoShape">
              <a:avLst/>
            </a:prstTxWarp>
          </a:bodyPr>
          <a:lstStyle>
            <a:lvl1pPr>
              <a:defRPr sz="1200"/>
            </a:lvl1pPr>
          </a:lstStyle>
          <a:p>
            <a:pPr>
              <a:defRPr/>
            </a:pPr>
            <a:endParaRPr lang="en-US"/>
          </a:p>
        </p:txBody>
      </p:sp>
      <p:sp>
        <p:nvSpPr>
          <p:cNvPr id="93191" name="Rectangle 7"/>
          <p:cNvSpPr>
            <a:spLocks noGrp="1" noChangeArrowheads="1"/>
          </p:cNvSpPr>
          <p:nvPr>
            <p:ph type="sldNum" sz="quarter" idx="5"/>
          </p:nvPr>
        </p:nvSpPr>
        <p:spPr bwMode="auto">
          <a:xfrm>
            <a:off x="3970437" y="8772690"/>
            <a:ext cx="3038372" cy="461804"/>
          </a:xfrm>
          <a:prstGeom prst="rect">
            <a:avLst/>
          </a:prstGeom>
          <a:noFill/>
          <a:ln w="9525">
            <a:noFill/>
            <a:miter lim="800000"/>
            <a:headEnd/>
            <a:tailEnd/>
          </a:ln>
          <a:effectLst/>
        </p:spPr>
        <p:txBody>
          <a:bodyPr vert="horz" wrap="square" lIns="90851" tIns="45425" rIns="90851" bIns="45425" numCol="1" anchor="b" anchorCtr="0" compatLnSpc="1">
            <a:prstTxWarp prst="textNoShape">
              <a:avLst/>
            </a:prstTxWarp>
          </a:bodyPr>
          <a:lstStyle>
            <a:lvl1pPr algn="r">
              <a:defRPr sz="1200"/>
            </a:lvl1pPr>
          </a:lstStyle>
          <a:p>
            <a:pPr>
              <a:defRPr/>
            </a:pPr>
            <a:fld id="{A3ABF31C-7928-49D7-9B65-7644C9974049}" type="slidenum">
              <a:rPr lang="en-US"/>
              <a:pPr>
                <a:defRPr/>
              </a:pPr>
              <a:t>‹#›</a:t>
            </a:fld>
            <a:endParaRPr lang="en-US"/>
          </a:p>
        </p:txBody>
      </p:sp>
    </p:spTree>
    <p:extLst>
      <p:ext uri="{BB962C8B-B14F-4D97-AF65-F5344CB8AC3E}">
        <p14:creationId xmlns:p14="http://schemas.microsoft.com/office/powerpoint/2010/main" val="16190343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7BAAE2E6-46A3-4215-9196-392702D919D8}" type="slidenum">
              <a:rPr lang="en-US" smtClean="0"/>
              <a:pPr/>
              <a:t>10</a:t>
            </a:fld>
            <a:endParaRPr lang="en-US" smtClean="0"/>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804256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3ABF31C-7928-49D7-9B65-7644C9974049}" type="slidenum">
              <a:rPr lang="en-US" smtClean="0"/>
              <a:pPr>
                <a:defRPr/>
              </a:pPr>
              <a:t>12</a:t>
            </a:fld>
            <a:endParaRPr lang="en-US"/>
          </a:p>
        </p:txBody>
      </p:sp>
    </p:spTree>
    <p:extLst>
      <p:ext uri="{BB962C8B-B14F-4D97-AF65-F5344CB8AC3E}">
        <p14:creationId xmlns:p14="http://schemas.microsoft.com/office/powerpoint/2010/main" val="378095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itchFamily="34" charset="0"/>
              </a:rPr>
              <a:t>Slide Objectives:</a:t>
            </a:r>
            <a:endParaRPr lang="en-US" dirty="0">
              <a:latin typeface="Segoe UI" pitchFamily="34" charset="0"/>
            </a:endParaRPr>
          </a:p>
          <a:p>
            <a:pPr marL="169633" indent="-169633">
              <a:buFont typeface="Arial" pitchFamily="34" charset="0"/>
              <a:buChar char="•"/>
            </a:pPr>
            <a:r>
              <a:rPr lang="en-US" dirty="0">
                <a:latin typeface="Segoe UI" pitchFamily="34" charset="0"/>
              </a:rPr>
              <a:t>Main points you want to make</a:t>
            </a:r>
          </a:p>
          <a:p>
            <a:endParaRPr lang="en-US" dirty="0">
              <a:latin typeface="Segoe UI" pitchFamily="34" charset="0"/>
            </a:endParaRPr>
          </a:p>
          <a:p>
            <a:r>
              <a:rPr lang="en-US" b="1" dirty="0">
                <a:latin typeface="Segoe UI" pitchFamily="34" charset="0"/>
              </a:rPr>
              <a:t>Transition:</a:t>
            </a:r>
            <a:endParaRPr lang="en-US" dirty="0">
              <a:latin typeface="Segoe UI" pitchFamily="34" charset="0"/>
            </a:endParaRPr>
          </a:p>
          <a:p>
            <a:pPr marL="169633" indent="-169633">
              <a:buFont typeface="Arial" pitchFamily="34" charset="0"/>
              <a:buChar char="•"/>
            </a:pPr>
            <a:r>
              <a:rPr lang="en-US" dirty="0">
                <a:latin typeface="Segoe UI" pitchFamily="34" charset="0"/>
              </a:rPr>
              <a:t>Transition statement(s) to setup the slide</a:t>
            </a:r>
          </a:p>
          <a:p>
            <a:pPr marL="169633" indent="-169633">
              <a:buFont typeface="Arial" pitchFamily="34" charset="0"/>
              <a:buChar char="•"/>
            </a:pPr>
            <a:endParaRPr lang="en-US" dirty="0">
              <a:latin typeface="Segoe UI" pitchFamily="34" charset="0"/>
            </a:endParaRPr>
          </a:p>
          <a:p>
            <a:r>
              <a:rPr lang="en-US" b="1" dirty="0">
                <a:latin typeface="Segoe UI" pitchFamily="34" charset="0"/>
              </a:rPr>
              <a:t>Speaking Points:</a:t>
            </a:r>
            <a:endParaRPr lang="en-US" dirty="0">
              <a:latin typeface="Segoe UI" pitchFamily="34" charset="0"/>
            </a:endParaRPr>
          </a:p>
          <a:p>
            <a:pPr marL="169633" indent="-169633">
              <a:buFont typeface="Arial" pitchFamily="34" charset="0"/>
              <a:buChar char="•"/>
            </a:pPr>
            <a:r>
              <a:rPr lang="en-US" dirty="0">
                <a:latin typeface="Segoe UI" pitchFamily="34" charset="0"/>
              </a:rPr>
              <a:t>Speaking Point  #1</a:t>
            </a:r>
          </a:p>
          <a:p>
            <a:pPr marL="169633" indent="-169633">
              <a:buFont typeface="Arial" pitchFamily="34" charset="0"/>
              <a:buChar char="•"/>
            </a:pPr>
            <a:r>
              <a:rPr lang="en-US" dirty="0">
                <a:latin typeface="Segoe UI" pitchFamily="34" charset="0"/>
              </a:rPr>
              <a:t>Speaking Point  #2</a:t>
            </a:r>
          </a:p>
          <a:p>
            <a:pPr marL="169633" indent="-169633">
              <a:buFont typeface="Arial" pitchFamily="34" charset="0"/>
              <a:buChar char="•"/>
            </a:pPr>
            <a:endParaRPr lang="en-US" dirty="0">
              <a:latin typeface="Segoe UI" pitchFamily="34" charset="0"/>
            </a:endParaRPr>
          </a:p>
          <a:p>
            <a:r>
              <a:rPr lang="en-US" b="1" dirty="0">
                <a:latin typeface="Segoe UI" pitchFamily="34" charset="0"/>
              </a:rPr>
              <a:t>Notes:</a:t>
            </a:r>
            <a:endParaRPr lang="en-US" dirty="0">
              <a:latin typeface="Segoe UI" pitchFamily="34" charset="0"/>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3111185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69633" indent="-169633">
              <a:buFont typeface="Arial" pitchFamily="34" charset="0"/>
              <a:buChar char="•"/>
            </a:pPr>
            <a:r>
              <a:rPr lang="en-US" dirty="0" smtClean="0"/>
              <a:t>Windows Azure itself is deployed around the world</a:t>
            </a:r>
          </a:p>
          <a:p>
            <a:pPr marL="169633" indent="-169633">
              <a:buFont typeface="Arial" pitchFamily="34" charset="0"/>
              <a:buChar char="•"/>
            </a:pPr>
            <a:r>
              <a:rPr lang="en-US" dirty="0" smtClean="0"/>
              <a:t>With Windows Azure, we have a concept of regions, which is where you choose to place your code and run.  </a:t>
            </a:r>
          </a:p>
          <a:p>
            <a:pPr marL="169633" indent="-169633">
              <a:buFont typeface="Arial" pitchFamily="34" charset="0"/>
              <a:buChar char="•"/>
            </a:pPr>
            <a:r>
              <a:rPr lang="en-US" dirty="0" smtClean="0"/>
              <a:t>In each of the regions, we have a Microsoft datacenter. </a:t>
            </a:r>
          </a:p>
          <a:p>
            <a:pPr marL="169633" indent="-169633">
              <a:buFont typeface="Arial" pitchFamily="34" charset="0"/>
              <a:buChar char="•"/>
            </a:pPr>
            <a:r>
              <a:rPr lang="en-US" dirty="0" smtClean="0"/>
              <a:t>These datacenters are massive facilities that host 10s or in some cases hundreds of thousands of servers</a:t>
            </a:r>
          </a:p>
          <a:p>
            <a:pPr marL="169633" indent="-169633">
              <a:buFont typeface="Arial" pitchFamily="34" charset="0"/>
              <a:buChar char="•"/>
            </a:pPr>
            <a:r>
              <a:rPr lang="en-US" dirty="0" smtClean="0"/>
              <a:t>We have currently four regions in North America, two regions in Europe, and two in Asia</a:t>
            </a:r>
          </a:p>
          <a:p>
            <a:pPr marL="169633" indent="-169633">
              <a:buFont typeface="Arial" pitchFamily="34" charset="0"/>
              <a:buChar char="•"/>
            </a:pPr>
            <a:r>
              <a:rPr lang="en-US" dirty="0" smtClean="0"/>
              <a:t>As you can see on this slide we also have a number of CDN edge points, which we can use to cache your content and deliver it even faster for customers.  %</a:t>
            </a:r>
          </a:p>
          <a:p>
            <a:pPr marL="169633" indent="-169633">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69633" indent="-169633">
              <a:buFont typeface="Arial" pitchFamily="34" charset="0"/>
              <a:buChar char="•"/>
            </a:pPr>
            <a:r>
              <a:rPr lang="en-US" dirty="0" smtClean="0"/>
              <a:t>Once you build an application, you can choose where you want to run in the world and you can move your workloads from region to region.  </a:t>
            </a:r>
          </a:p>
          <a:p>
            <a:pPr marL="169633" indent="-169633">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69633" indent="-169633">
              <a:buFont typeface="Arial" pitchFamily="34" charset="0"/>
              <a:buChar char="•"/>
            </a:pPr>
            <a:r>
              <a:rPr lang="en-US" dirty="0" smtClean="0"/>
              <a:t>That gives you a global footprint and a chance to reach a bigger customer base or audience in new markets</a:t>
            </a:r>
          </a:p>
          <a:p>
            <a:endParaRPr lang="en-US" dirty="0" smtClean="0"/>
          </a:p>
          <a:p>
            <a:r>
              <a:rPr lang="en-US" b="1" dirty="0" smtClean="0"/>
              <a:t>Notes:</a:t>
            </a:r>
          </a:p>
          <a:p>
            <a:pPr marL="169633" indent="-169633">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69633" indent="-169633">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3377654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Segoe UI" pitchFamily="34" charset="0"/>
              </a:rPr>
              <a:t>Slide Objectives:</a:t>
            </a:r>
            <a:endParaRPr lang="en-US" dirty="0">
              <a:latin typeface="Segoe UI" pitchFamily="34" charset="0"/>
            </a:endParaRPr>
          </a:p>
          <a:p>
            <a:pPr marL="169633" indent="-169633">
              <a:buFont typeface="Arial" pitchFamily="34" charset="0"/>
              <a:buChar char="•"/>
            </a:pPr>
            <a:r>
              <a:rPr lang="en-US" dirty="0">
                <a:latin typeface="Segoe UI" pitchFamily="34" charset="0"/>
              </a:rPr>
              <a:t>Main points you want to make</a:t>
            </a:r>
          </a:p>
          <a:p>
            <a:endParaRPr lang="en-US" dirty="0">
              <a:latin typeface="Segoe UI" pitchFamily="34" charset="0"/>
            </a:endParaRPr>
          </a:p>
          <a:p>
            <a:r>
              <a:rPr lang="en-US" b="1" dirty="0">
                <a:latin typeface="Segoe UI" pitchFamily="34" charset="0"/>
              </a:rPr>
              <a:t>Transition:</a:t>
            </a:r>
            <a:endParaRPr lang="en-US" dirty="0">
              <a:latin typeface="Segoe UI" pitchFamily="34" charset="0"/>
            </a:endParaRPr>
          </a:p>
          <a:p>
            <a:pPr marL="169633" indent="-169633">
              <a:buFont typeface="Arial" pitchFamily="34" charset="0"/>
              <a:buChar char="•"/>
            </a:pPr>
            <a:r>
              <a:rPr lang="en-US" dirty="0">
                <a:latin typeface="Segoe UI" pitchFamily="34" charset="0"/>
              </a:rPr>
              <a:t>Transition statement(s) to setup the slide</a:t>
            </a:r>
          </a:p>
          <a:p>
            <a:pPr marL="169633" indent="-169633">
              <a:buFont typeface="Arial" pitchFamily="34" charset="0"/>
              <a:buChar char="•"/>
            </a:pPr>
            <a:endParaRPr lang="en-US" dirty="0">
              <a:latin typeface="Segoe UI" pitchFamily="34" charset="0"/>
            </a:endParaRPr>
          </a:p>
          <a:p>
            <a:r>
              <a:rPr lang="en-US" b="1" dirty="0">
                <a:latin typeface="Segoe UI" pitchFamily="34" charset="0"/>
              </a:rPr>
              <a:t>Speaking Points:</a:t>
            </a:r>
            <a:endParaRPr lang="en-US" dirty="0">
              <a:latin typeface="Segoe UI" pitchFamily="34" charset="0"/>
            </a:endParaRPr>
          </a:p>
          <a:p>
            <a:pPr marL="169633" indent="-169633">
              <a:buFont typeface="Arial" pitchFamily="34" charset="0"/>
              <a:buChar char="•"/>
            </a:pPr>
            <a:r>
              <a:rPr lang="en-US" dirty="0">
                <a:latin typeface="Segoe UI" pitchFamily="34" charset="0"/>
              </a:rPr>
              <a:t>Speaking Point  #1</a:t>
            </a:r>
          </a:p>
          <a:p>
            <a:pPr marL="169633" indent="-169633">
              <a:buFont typeface="Arial" pitchFamily="34" charset="0"/>
              <a:buChar char="•"/>
            </a:pPr>
            <a:r>
              <a:rPr lang="en-US" dirty="0">
                <a:latin typeface="Segoe UI" pitchFamily="34" charset="0"/>
              </a:rPr>
              <a:t>Speaking Point  #2</a:t>
            </a:r>
          </a:p>
          <a:p>
            <a:pPr marL="169633" indent="-169633">
              <a:buFont typeface="Arial" pitchFamily="34" charset="0"/>
              <a:buChar char="•"/>
            </a:pPr>
            <a:endParaRPr lang="en-US" dirty="0">
              <a:latin typeface="Segoe UI" pitchFamily="34" charset="0"/>
            </a:endParaRPr>
          </a:p>
          <a:p>
            <a:r>
              <a:rPr lang="en-US" b="1" dirty="0">
                <a:latin typeface="Segoe UI" pitchFamily="34" charset="0"/>
              </a:rPr>
              <a:t>Notes:</a:t>
            </a:r>
            <a:endParaRPr lang="en-US" dirty="0">
              <a:latin typeface="Segoe UI" pitchFamily="34" charset="0"/>
            </a:endParaRPr>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2709458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C37E252-B3E1-4926-853A-CA7E5F6A097A}"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07B33B9-F8DE-4897-8474-88169EA1DDE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FAED035-EDB9-493E-B98B-3557F8A9CC72}"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95117CD0-0794-49F7-AE6B-89C61F4BDD7F}"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Droplets-HD-Title-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313259" y="1300786"/>
            <a:ext cx="6517482" cy="2509213"/>
          </a:xfrm>
        </p:spPr>
        <p:txBody>
          <a:bodyPr anchor="b">
            <a:normAutofit/>
          </a:bodyPr>
          <a:lstStyle>
            <a:lvl1pPr algn="l">
              <a:defRPr sz="3600" cap="small"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1313259" y="3886201"/>
            <a:ext cx="6517482" cy="1371599"/>
          </a:xfrm>
        </p:spPr>
        <p:txBody>
          <a:bodyPr>
            <a:normAutofit/>
          </a:bodyPr>
          <a:lstStyle>
            <a:lvl1pPr marL="0" indent="0" algn="l">
              <a:buNone/>
              <a:defRPr sz="1650" cap="sm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20566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3" name="Picture 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normAutofit/>
          </a:bodyPr>
          <a:lstStyle>
            <a:lvl1pPr algn="ctr">
              <a:defRPr sz="3000" cap="small" baseline="0"/>
            </a:lvl1pPr>
          </a:lstStyle>
          <a:p>
            <a:r>
              <a:rPr lang="en-US" dirty="0" smtClean="0"/>
              <a:t>Click to edit Master title style</a:t>
            </a:r>
            <a:endParaRPr lang="en-US" dirty="0"/>
          </a:p>
        </p:txBody>
      </p:sp>
      <p:sp>
        <p:nvSpPr>
          <p:cNvPr id="12" name="Content Placeholder 2"/>
          <p:cNvSpPr>
            <a:spLocks noGrp="1"/>
          </p:cNvSpPr>
          <p:nvPr>
            <p:ph sz="quarter" idx="13"/>
          </p:nvPr>
        </p:nvSpPr>
        <p:spPr>
          <a:xfrm>
            <a:off x="685330" y="2367093"/>
            <a:ext cx="777287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77842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828564"/>
            <a:ext cx="7763814" cy="2736819"/>
          </a:xfrm>
        </p:spPr>
        <p:txBody>
          <a:bodyPr anchor="b">
            <a:normAutofit/>
          </a:bodyPr>
          <a:lstStyle>
            <a:lvl1pPr>
              <a:defRPr sz="3000" cap="small"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685331" y="3657458"/>
            <a:ext cx="7763814" cy="1368183"/>
          </a:xfrm>
        </p:spPr>
        <p:txBody>
          <a:bodyPr>
            <a:normAutofit/>
          </a:bodyPr>
          <a:lstStyle>
            <a:lvl1pPr marL="0" indent="0" algn="ctr">
              <a:buNone/>
              <a:defRPr sz="1500" cap="small" baseline="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53876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lvl1pPr>
              <a:defRPr cap="small" baseline="0"/>
            </a:lvl1pPr>
          </a:lstStyle>
          <a:p>
            <a:r>
              <a:rPr lang="en-US" dirty="0" smtClean="0"/>
              <a:t>Click to edit Master title style</a:t>
            </a:r>
            <a:endParaRPr lang="en-US" dirty="0"/>
          </a:p>
        </p:txBody>
      </p:sp>
      <p:sp>
        <p:nvSpPr>
          <p:cNvPr id="12" name="Content Placeholder 2"/>
          <p:cNvSpPr>
            <a:spLocks noGrp="1"/>
          </p:cNvSpPr>
          <p:nvPr>
            <p:ph sz="quarter" idx="13"/>
          </p:nvPr>
        </p:nvSpPr>
        <p:spPr>
          <a:xfrm>
            <a:off x="685330" y="2367093"/>
            <a:ext cx="382952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4"/>
          </p:nvPr>
        </p:nvSpPr>
        <p:spPr>
          <a:xfrm>
            <a:off x="4629150" y="2367093"/>
            <a:ext cx="382905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094614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5" name="Picture 14"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lvl1pPr>
              <a:defRPr cap="sm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859746" y="2371018"/>
            <a:ext cx="3655106" cy="679994"/>
          </a:xfrm>
        </p:spPr>
        <p:txBody>
          <a:bodyPr anchor="b">
            <a:noAutofit/>
          </a:bodyPr>
          <a:lstStyle>
            <a:lvl1pPr marL="0" indent="0">
              <a:lnSpc>
                <a:spcPct val="85000"/>
              </a:lnSpc>
              <a:buNone/>
              <a:defRPr sz="1950" b="0" cap="sm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2" name="Content Placeholder 3"/>
          <p:cNvSpPr>
            <a:spLocks noGrp="1"/>
          </p:cNvSpPr>
          <p:nvPr>
            <p:ph sz="quarter" idx="13"/>
          </p:nvPr>
        </p:nvSpPr>
        <p:spPr>
          <a:xfrm>
            <a:off x="685331" y="3051013"/>
            <a:ext cx="3829520" cy="274018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797317" y="2371018"/>
            <a:ext cx="3661353" cy="679994"/>
          </a:xfrm>
        </p:spPr>
        <p:txBody>
          <a:bodyPr anchor="b">
            <a:noAutofit/>
          </a:bodyPr>
          <a:lstStyle>
            <a:lvl1pPr marL="0" indent="0">
              <a:lnSpc>
                <a:spcPct val="85000"/>
              </a:lnSpc>
              <a:buNone/>
              <a:defRPr sz="1950" b="0" cap="sm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3" name="Content Placeholder 5"/>
          <p:cNvSpPr>
            <a:spLocks noGrp="1"/>
          </p:cNvSpPr>
          <p:nvPr>
            <p:ph sz="quarter" idx="14"/>
          </p:nvPr>
        </p:nvSpPr>
        <p:spPr>
          <a:xfrm>
            <a:off x="4629150" y="3051013"/>
            <a:ext cx="3829051" cy="274018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45056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normAutofit/>
          </a:bodyPr>
          <a:lstStyle>
            <a:lvl1pPr>
              <a:defRPr sz="3300" cap="small" baseline="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190298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3" name="Footer Placeholder 2"/>
          <p:cNvSpPr>
            <a:spLocks noGrp="1"/>
          </p:cNvSpPr>
          <p:nvPr>
            <p:ph type="ftr" sz="quarter" idx="11"/>
          </p:nvPr>
        </p:nvSpPr>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11450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9B3E8EC-16C9-49FB-93AD-B8922F3F1F03}"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2951766" cy="2023252"/>
          </a:xfrm>
        </p:spPr>
        <p:txBody>
          <a:bodyPr anchor="b"/>
          <a:lstStyle>
            <a:lvl1pPr algn="ctr">
              <a:defRPr sz="2400" cap="small" baseline="0"/>
            </a:lvl1pPr>
          </a:lstStyle>
          <a:p>
            <a:r>
              <a:rPr lang="en-US" dirty="0" smtClean="0"/>
              <a:t>Click to edit Master title style</a:t>
            </a:r>
            <a:endParaRPr lang="en-US" dirty="0"/>
          </a:p>
        </p:txBody>
      </p:sp>
      <p:sp>
        <p:nvSpPr>
          <p:cNvPr id="10" name="Content Placeholder 2"/>
          <p:cNvSpPr>
            <a:spLocks noGrp="1"/>
          </p:cNvSpPr>
          <p:nvPr>
            <p:ph sz="quarter" idx="13"/>
          </p:nvPr>
        </p:nvSpPr>
        <p:spPr>
          <a:xfrm>
            <a:off x="3808547" y="609601"/>
            <a:ext cx="4650122" cy="5181599"/>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331" y="2632852"/>
            <a:ext cx="2951767" cy="3158348"/>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59160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4451227" cy="2023254"/>
          </a:xfrm>
        </p:spPr>
        <p:txBody>
          <a:bodyPr anchor="b"/>
          <a:lstStyle>
            <a:lvl1pPr algn="ctr">
              <a:defRPr sz="2400" cap="small" baseline="0"/>
            </a:lvl1pPr>
          </a:lstStyle>
          <a:p>
            <a:r>
              <a:rPr lang="en-US" dirty="0" smtClean="0"/>
              <a:t>Click to edit Master title style</a:t>
            </a:r>
            <a:endParaRPr lang="en-US" dirty="0"/>
          </a:p>
        </p:txBody>
      </p:sp>
      <p:sp>
        <p:nvSpPr>
          <p:cNvPr id="3" name="Picture Placeholder 2"/>
          <p:cNvSpPr>
            <a:spLocks noGrp="1" noChangeAspect="1"/>
          </p:cNvSpPr>
          <p:nvPr>
            <p:ph type="pic" idx="1"/>
          </p:nvPr>
        </p:nvSpPr>
        <p:spPr>
          <a:xfrm>
            <a:off x="5568602" y="609601"/>
            <a:ext cx="2441519" cy="5181600"/>
          </a:xfrm>
          <a:prstGeom prst="roundRect">
            <a:avLst>
              <a:gd name="adj" fmla="val 494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400" cap="small" baseline="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85346" y="2632853"/>
            <a:ext cx="4451212" cy="3158347"/>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33562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46" y="4289374"/>
            <a:ext cx="7773324" cy="811610"/>
          </a:xfrm>
        </p:spPr>
        <p:txBody>
          <a:bodyPr anchor="b"/>
          <a:lstStyle>
            <a:lvl1pPr>
              <a:defRPr sz="2400" cap="small" baseline="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88558" y="698261"/>
            <a:ext cx="7366899" cy="3214136"/>
          </a:xfrm>
          <a:prstGeom prst="roundRect">
            <a:avLst>
              <a:gd name="adj" fmla="val 4944"/>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400" cap="small" baseline="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85331" y="5108728"/>
            <a:ext cx="7773339" cy="682472"/>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31882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7773339" cy="3427245"/>
          </a:xfrm>
        </p:spPr>
        <p:txBody>
          <a:bodyPr anchor="ctr"/>
          <a:lstStyle>
            <a:lvl1pPr algn="ct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85331" y="4204821"/>
            <a:ext cx="7773339" cy="1586380"/>
          </a:xfrm>
        </p:spPr>
        <p:txBody>
          <a:bodyPr anchor="ct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2700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1084659" y="609600"/>
            <a:ext cx="6977064" cy="2992904"/>
          </a:xfrm>
        </p:spPr>
        <p:txBody>
          <a:bodyPr anchor="ctr"/>
          <a:lstStyle>
            <a:lvl1pPr>
              <a:defRPr sz="24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290484" y="3610032"/>
            <a:ext cx="6564224" cy="594788"/>
          </a:xfrm>
        </p:spPr>
        <p:txBody>
          <a:bodyPr anchor="t">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4" name="Text Placeholder 3"/>
          <p:cNvSpPr>
            <a:spLocks noGrp="1"/>
          </p:cNvSpPr>
          <p:nvPr>
            <p:ph type="body" sz="half" idx="2"/>
          </p:nvPr>
        </p:nvSpPr>
        <p:spPr>
          <a:xfrm>
            <a:off x="685331" y="4372797"/>
            <a:ext cx="7773339" cy="1421053"/>
          </a:xfrm>
        </p:spPr>
        <p:txBody>
          <a:bodyPr anchor="ctr">
            <a:normAutofit/>
          </a:bodyP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
        <p:nvSpPr>
          <p:cNvPr id="13" name="TextBox 12"/>
          <p:cNvSpPr txBox="1"/>
          <p:nvPr/>
        </p:nvSpPr>
        <p:spPr>
          <a:xfrm>
            <a:off x="751116" y="754166"/>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342900" fontAlgn="auto">
              <a:spcAft>
                <a:spcPts val="0"/>
              </a:spcAft>
            </a:pPr>
            <a:r>
              <a:rPr lang="en-US" sz="6000" dirty="0">
                <a:solidFill>
                  <a:prstClr val="black"/>
                </a:solidFill>
                <a:effectLst/>
                <a:latin typeface="Tw Cen MT" panose="020B0602020104020603"/>
              </a:rPr>
              <a:t>“</a:t>
            </a:r>
          </a:p>
        </p:txBody>
      </p:sp>
      <p:sp>
        <p:nvSpPr>
          <p:cNvPr id="14" name="TextBox 13"/>
          <p:cNvSpPr txBox="1"/>
          <p:nvPr/>
        </p:nvSpPr>
        <p:spPr>
          <a:xfrm>
            <a:off x="7918169" y="2993578"/>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defTabSz="342900" fontAlgn="auto">
              <a:spcAft>
                <a:spcPts val="0"/>
              </a:spcAft>
            </a:pPr>
            <a:r>
              <a:rPr lang="en-US" sz="6000" dirty="0">
                <a:solidFill>
                  <a:prstClr val="black"/>
                </a:solidFill>
                <a:effectLst/>
                <a:latin typeface="Tw Cen MT" panose="020B0602020104020603"/>
              </a:rPr>
              <a:t>”</a:t>
            </a:r>
          </a:p>
        </p:txBody>
      </p:sp>
    </p:spTree>
    <p:extLst>
      <p:ext uri="{BB962C8B-B14F-4D97-AF65-F5344CB8AC3E}">
        <p14:creationId xmlns:p14="http://schemas.microsoft.com/office/powerpoint/2010/main" val="1578815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2138722"/>
            <a:ext cx="7773339" cy="2511835"/>
          </a:xfrm>
        </p:spPr>
        <p:txBody>
          <a:bodyPr anchor="b"/>
          <a:lstStyle>
            <a:lvl1pPr algn="ct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85331" y="4662335"/>
            <a:ext cx="7773339" cy="1140644"/>
          </a:xfrm>
        </p:spPr>
        <p:txBody>
          <a:bodyPr anchor="t"/>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86837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itle 1"/>
          <p:cNvSpPr>
            <a:spLocks noGrp="1"/>
          </p:cNvSpPr>
          <p:nvPr>
            <p:ph type="title"/>
          </p:nvPr>
        </p:nvSpPr>
        <p:spPr>
          <a:xfrm>
            <a:off x="685331" y="609600"/>
            <a:ext cx="7773339" cy="1605094"/>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331" y="2367093"/>
            <a:ext cx="2474232"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8" name="Text Placeholder 3"/>
          <p:cNvSpPr>
            <a:spLocks noGrp="1"/>
          </p:cNvSpPr>
          <p:nvPr>
            <p:ph type="body" sz="half" idx="15"/>
          </p:nvPr>
        </p:nvSpPr>
        <p:spPr>
          <a:xfrm>
            <a:off x="685331" y="2943356"/>
            <a:ext cx="2474232"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9" name="Text Placeholder 4"/>
          <p:cNvSpPr>
            <a:spLocks noGrp="1"/>
          </p:cNvSpPr>
          <p:nvPr>
            <p:ph type="body" sz="quarter" idx="3"/>
          </p:nvPr>
        </p:nvSpPr>
        <p:spPr>
          <a:xfrm>
            <a:off x="3339292" y="2367093"/>
            <a:ext cx="2468641"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0" name="Text Placeholder 3"/>
          <p:cNvSpPr>
            <a:spLocks noGrp="1"/>
          </p:cNvSpPr>
          <p:nvPr>
            <p:ph type="body" sz="half" idx="16"/>
          </p:nvPr>
        </p:nvSpPr>
        <p:spPr>
          <a:xfrm>
            <a:off x="3331012" y="2943356"/>
            <a:ext cx="2477513"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1" name="Text Placeholder 4"/>
          <p:cNvSpPr>
            <a:spLocks noGrp="1"/>
          </p:cNvSpPr>
          <p:nvPr>
            <p:ph type="body" sz="quarter" idx="13"/>
          </p:nvPr>
        </p:nvSpPr>
        <p:spPr>
          <a:xfrm>
            <a:off x="5979974" y="2367093"/>
            <a:ext cx="2478696"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2" name="Text Placeholder 3"/>
          <p:cNvSpPr>
            <a:spLocks noGrp="1"/>
          </p:cNvSpPr>
          <p:nvPr>
            <p:ph type="body" sz="half" idx="17"/>
          </p:nvPr>
        </p:nvSpPr>
        <p:spPr>
          <a:xfrm>
            <a:off x="5979974" y="2943356"/>
            <a:ext cx="2478696"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00501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6" name="Picture 15"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0" name="Title 1"/>
          <p:cNvSpPr>
            <a:spLocks noGrp="1"/>
          </p:cNvSpPr>
          <p:nvPr>
            <p:ph type="title"/>
          </p:nvPr>
        </p:nvSpPr>
        <p:spPr>
          <a:xfrm>
            <a:off x="685331" y="610772"/>
            <a:ext cx="7773339" cy="1603922"/>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5331" y="4204820"/>
            <a:ext cx="2472307"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0" name="Picture Placeholder 2"/>
          <p:cNvSpPr>
            <a:spLocks noGrp="1" noChangeAspect="1"/>
          </p:cNvSpPr>
          <p:nvPr>
            <p:ph type="pic" idx="15"/>
          </p:nvPr>
        </p:nvSpPr>
        <p:spPr>
          <a:xfrm>
            <a:off x="685331" y="2367093"/>
            <a:ext cx="2472307" cy="1524000"/>
          </a:xfrm>
          <a:prstGeom prst="roundRect">
            <a:avLst>
              <a:gd name="adj" fmla="val 936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1" name="Text Placeholder 3"/>
          <p:cNvSpPr>
            <a:spLocks noGrp="1"/>
          </p:cNvSpPr>
          <p:nvPr>
            <p:ph type="body" sz="half" idx="18"/>
          </p:nvPr>
        </p:nvSpPr>
        <p:spPr>
          <a:xfrm>
            <a:off x="685331" y="4781082"/>
            <a:ext cx="2472307" cy="1010118"/>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2" name="Text Placeholder 4"/>
          <p:cNvSpPr>
            <a:spLocks noGrp="1"/>
          </p:cNvSpPr>
          <p:nvPr>
            <p:ph type="body" sz="quarter" idx="3"/>
          </p:nvPr>
        </p:nvSpPr>
        <p:spPr>
          <a:xfrm>
            <a:off x="3332069" y="4204820"/>
            <a:ext cx="2476371"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3" name="Picture Placeholder 2"/>
          <p:cNvSpPr>
            <a:spLocks noGrp="1" noChangeAspect="1"/>
          </p:cNvSpPr>
          <p:nvPr>
            <p:ph type="pic" idx="21"/>
          </p:nvPr>
        </p:nvSpPr>
        <p:spPr>
          <a:xfrm>
            <a:off x="3331011" y="2367093"/>
            <a:ext cx="2477514"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4" name="Text Placeholder 3"/>
          <p:cNvSpPr>
            <a:spLocks noGrp="1"/>
          </p:cNvSpPr>
          <p:nvPr>
            <p:ph type="body" sz="half" idx="19"/>
          </p:nvPr>
        </p:nvSpPr>
        <p:spPr>
          <a:xfrm>
            <a:off x="3331011" y="4781081"/>
            <a:ext cx="2477514" cy="1010119"/>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5" name="Text Placeholder 4"/>
          <p:cNvSpPr>
            <a:spLocks noGrp="1"/>
          </p:cNvSpPr>
          <p:nvPr>
            <p:ph type="body" sz="quarter" idx="13"/>
          </p:nvPr>
        </p:nvSpPr>
        <p:spPr>
          <a:xfrm>
            <a:off x="5979974" y="4204820"/>
            <a:ext cx="2475511"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6" name="Picture Placeholder 2"/>
          <p:cNvSpPr>
            <a:spLocks noGrp="1" noChangeAspect="1"/>
          </p:cNvSpPr>
          <p:nvPr>
            <p:ph type="pic" idx="22"/>
          </p:nvPr>
        </p:nvSpPr>
        <p:spPr>
          <a:xfrm>
            <a:off x="5979974" y="2367093"/>
            <a:ext cx="2478696"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7" name="Text Placeholder 3"/>
          <p:cNvSpPr>
            <a:spLocks noGrp="1"/>
          </p:cNvSpPr>
          <p:nvPr>
            <p:ph type="body" sz="half" idx="20"/>
          </p:nvPr>
        </p:nvSpPr>
        <p:spPr>
          <a:xfrm>
            <a:off x="5979880" y="4781079"/>
            <a:ext cx="2478790" cy="1010121"/>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54039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1" name="Vertical Text Placeholder 2"/>
          <p:cNvSpPr>
            <a:spLocks noGrp="1"/>
          </p:cNvSpPr>
          <p:nvPr>
            <p:ph type="body" orient="vert" sz="quarter" idx="13"/>
          </p:nvPr>
        </p:nvSpPr>
        <p:spPr>
          <a:xfrm>
            <a:off x="685331" y="2367094"/>
            <a:ext cx="7773339" cy="34241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58286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Vertical Title 1"/>
          <p:cNvSpPr>
            <a:spLocks noGrp="1"/>
          </p:cNvSpPr>
          <p:nvPr>
            <p:ph type="title" orient="vert"/>
          </p:nvPr>
        </p:nvSpPr>
        <p:spPr>
          <a:xfrm>
            <a:off x="6543675" y="609602"/>
            <a:ext cx="1914995" cy="5181599"/>
          </a:xfrm>
        </p:spPr>
        <p:txBody>
          <a:bodyPr vert="eaVert"/>
          <a:lstStyle>
            <a:lvl1pPr algn="l">
              <a:defRPr/>
            </a:lvl1pPr>
          </a:lstStyle>
          <a:p>
            <a:r>
              <a:rPr lang="en-US" smtClean="0"/>
              <a:t>Click to edit Master title style</a:t>
            </a:r>
            <a:endParaRPr lang="en-US" dirty="0"/>
          </a:p>
        </p:txBody>
      </p:sp>
      <p:sp>
        <p:nvSpPr>
          <p:cNvPr id="8" name="Vertical Text Placeholder 2"/>
          <p:cNvSpPr>
            <a:spLocks noGrp="1"/>
          </p:cNvSpPr>
          <p:nvPr>
            <p:ph type="body" orient="vert" sz="quarter" idx="13"/>
          </p:nvPr>
        </p:nvSpPr>
        <p:spPr>
          <a:xfrm>
            <a:off x="685331" y="609602"/>
            <a:ext cx="5744043" cy="518159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9/201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11151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502C00C-8698-42F6-9CA0-BF98E275EF70}"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and Content ">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49609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8"/>
          <p:cNvSpPr>
            <a:spLocks noGrp="1"/>
          </p:cNvSpPr>
          <p:nvPr>
            <p:ph type="body" sz="quarter" idx="11" hasCustomPrompt="1"/>
          </p:nvPr>
        </p:nvSpPr>
        <p:spPr>
          <a:xfrm>
            <a:off x="3328988" y="6622502"/>
            <a:ext cx="2486025" cy="216982"/>
          </a:xfrm>
        </p:spPr>
        <p:txBody>
          <a:bodyPr>
            <a:spAutoFit/>
          </a:bodyPr>
          <a:lstStyle>
            <a:lvl1pPr marL="0" indent="0" algn="ctr" defTabSz="685772" rtl="0" eaLnBrk="1" latinLnBrk="0" hangingPunct="1">
              <a:lnSpc>
                <a:spcPct val="90000"/>
              </a:lnSpc>
              <a:spcBef>
                <a:spcPct val="20000"/>
              </a:spcBef>
              <a:buClr>
                <a:srgbClr val="4E90CD"/>
              </a:buClr>
              <a:buSzPct val="120000"/>
              <a:buFont typeface="Arial" pitchFamily="34" charset="0"/>
              <a:buNone/>
              <a:defRPr lang="en-US" sz="900" kern="1200" dirty="0" smtClean="0">
                <a:gradFill>
                  <a:gsLst>
                    <a:gs pos="0">
                      <a:schemeClr val="tx1"/>
                    </a:gs>
                    <a:gs pos="86000">
                      <a:schemeClr val="tx1"/>
                    </a:gs>
                  </a:gsLst>
                  <a:lin ang="5400000" scaled="0"/>
                </a:gradFill>
                <a:latin typeface="Segoe UI Light" pitchFamily="34" charset="0"/>
                <a:ea typeface="+mn-ea"/>
                <a:cs typeface="+mn-cs"/>
              </a:defRPr>
            </a:lvl1pPr>
            <a:lvl2pPr marL="345281" indent="0" algn="ctr">
              <a:buNone/>
              <a:defRPr sz="900"/>
            </a:lvl2pPr>
            <a:lvl3pPr marL="641747" indent="0" algn="ctr">
              <a:buNone/>
              <a:defRPr sz="900"/>
            </a:lvl3pPr>
            <a:lvl4pPr marL="944166" indent="0" algn="ctr">
              <a:buNone/>
              <a:defRPr sz="900"/>
            </a:lvl4pPr>
            <a:lvl5pPr marL="1203722" indent="0" algn="ctr">
              <a:buNone/>
              <a:defRPr sz="900"/>
            </a:lvl5pPr>
          </a:lstStyle>
          <a:p>
            <a:pPr lvl="0"/>
            <a:r>
              <a:rPr lang="en-US" dirty="0" smtClean="0"/>
              <a:t>Click to edit text</a:t>
            </a:r>
          </a:p>
        </p:txBody>
      </p:sp>
      <p:sp>
        <p:nvSpPr>
          <p:cNvPr id="6" name="Slide Number Placeholder 4"/>
          <p:cNvSpPr>
            <a:spLocks noGrp="1"/>
          </p:cNvSpPr>
          <p:nvPr>
            <p:ph type="sldNum" sz="quarter" idx="4"/>
          </p:nvPr>
        </p:nvSpPr>
        <p:spPr>
          <a:xfrm>
            <a:off x="190500" y="6593680"/>
            <a:ext cx="2133600" cy="216982"/>
          </a:xfrm>
          <a:prstGeom prst="rect">
            <a:avLst/>
          </a:prstGeom>
        </p:spPr>
        <p:txBody>
          <a:bodyPr vert="horz" lIns="91440" tIns="45720" rIns="91440" bIns="45720" rtlCol="0" anchor="ctr">
            <a:spAutoFit/>
          </a:bodyPr>
          <a:lstStyle>
            <a:lvl1pPr marL="0" algn="l" defTabSz="685772" rtl="0" eaLnBrk="1" latinLnBrk="0" hangingPunct="1">
              <a:lnSpc>
                <a:spcPct val="90000"/>
              </a:lnSpc>
              <a:spcBef>
                <a:spcPct val="20000"/>
              </a:spcBef>
              <a:buClr>
                <a:srgbClr val="4E90CD"/>
              </a:buClr>
              <a:buSzPct val="120000"/>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fld id="{4ADF12F3-3404-4B21-B30F-258D3BB43857}" type="slidenum">
              <a:rPr>
                <a:gradFill>
                  <a:gsLst>
                    <a:gs pos="0">
                      <a:prstClr val="black"/>
                    </a:gs>
                    <a:gs pos="86000">
                      <a:prstClr val="black"/>
                    </a:gs>
                  </a:gsLst>
                  <a:lin ang="5400000" scaled="0"/>
                </a:gradFill>
              </a:rPr>
              <a:pPr/>
              <a:t>‹#›</a:t>
            </a:fld>
            <a:endParaRPr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31653637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Footer Placeholder 5"/>
          <p:cNvSpPr>
            <a:spLocks noGrp="1"/>
          </p:cNvSpPr>
          <p:nvPr>
            <p:ph type="ftr" sz="quarter" idx="3"/>
          </p:nvPr>
        </p:nvSpPr>
        <p:spPr>
          <a:xfrm>
            <a:off x="3124200" y="6511620"/>
            <a:ext cx="2895600" cy="365125"/>
          </a:xfrm>
          <a:prstGeom prst="rect">
            <a:avLst/>
          </a:prstGeom>
        </p:spPr>
        <p:txBody>
          <a:bodyPr vert="horz" lIns="91440" tIns="45720" rIns="91440" bIns="45720" rtlCol="0" anchor="ctr"/>
          <a:lstStyle>
            <a:lvl1pPr marL="0" indent="0" algn="ctr" defTabSz="685772" rtl="0" eaLnBrk="1" latinLnBrk="0" hangingPunct="1">
              <a:lnSpc>
                <a:spcPct val="90000"/>
              </a:lnSpc>
              <a:spcBef>
                <a:spcPct val="20000"/>
              </a:spcBef>
              <a:buClr>
                <a:srgbClr val="C60651"/>
              </a:buClr>
              <a:buSzPct val="120000"/>
              <a:buFont typeface="Arial" pitchFamily="34" charset="0"/>
              <a:buNone/>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r>
              <a:rPr dirty="0">
                <a:gradFill>
                  <a:gsLst>
                    <a:gs pos="0">
                      <a:prstClr val="black"/>
                    </a:gs>
                    <a:gs pos="86000">
                      <a:prstClr val="black"/>
                    </a:gs>
                  </a:gsLst>
                  <a:lin ang="5400000" scaled="0"/>
                </a:gradFill>
              </a:rPr>
              <a:t>Microsoft Confidential</a:t>
            </a:r>
          </a:p>
        </p:txBody>
      </p:sp>
      <p:sp>
        <p:nvSpPr>
          <p:cNvPr id="7" name="Slide Number Placeholder 6"/>
          <p:cNvSpPr>
            <a:spLocks noGrp="1"/>
          </p:cNvSpPr>
          <p:nvPr>
            <p:ph type="sldNum" sz="quarter" idx="4"/>
          </p:nvPr>
        </p:nvSpPr>
        <p:spPr>
          <a:xfrm>
            <a:off x="185624" y="6511620"/>
            <a:ext cx="2133600" cy="365125"/>
          </a:xfrm>
          <a:prstGeom prst="rect">
            <a:avLst/>
          </a:prstGeom>
        </p:spPr>
        <p:txBody>
          <a:bodyPr vert="horz" lIns="91440" tIns="45720" rIns="91440" bIns="45720" rtlCol="0" anchor="ctr"/>
          <a:lstStyle>
            <a:lvl1pPr marL="0" indent="0" algn="l" defTabSz="685772" rtl="0" eaLnBrk="1" latinLnBrk="0" hangingPunct="1">
              <a:lnSpc>
                <a:spcPct val="90000"/>
              </a:lnSpc>
              <a:spcBef>
                <a:spcPct val="20000"/>
              </a:spcBef>
              <a:buClr>
                <a:srgbClr val="C60651"/>
              </a:buClr>
              <a:buSzPct val="120000"/>
              <a:buFont typeface="Arial" pitchFamily="34" charset="0"/>
              <a:buNone/>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fld id="{64116138-1E09-45EE-B6F5-ADD12E5D7040}" type="slidenum">
              <a:rPr>
                <a:gradFill>
                  <a:gsLst>
                    <a:gs pos="0">
                      <a:prstClr val="black"/>
                    </a:gs>
                    <a:gs pos="86000">
                      <a:prstClr val="black"/>
                    </a:gs>
                  </a:gsLst>
                  <a:lin ang="5400000" scaled="0"/>
                </a:gradFill>
              </a:rPr>
              <a:pPr/>
              <a:t>‹#›</a:t>
            </a:fld>
            <a:endParaRPr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426840003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747897"/>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51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04870614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7706" y="289514"/>
            <a:ext cx="8607032" cy="898109"/>
          </a:xfr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7705" y="1187623"/>
            <a:ext cx="8607034" cy="193132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102" indent="0">
              <a:buNone/>
              <a:defRPr/>
            </a:lvl3pPr>
            <a:lvl4pPr marL="336206" indent="0">
              <a:buNone/>
              <a:defRPr/>
            </a:lvl4pPr>
            <a:lvl5pPr marL="5043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941059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93800"/>
            <a:ext cx="8229600" cy="5181600"/>
          </a:xfrm>
        </p:spPr>
        <p:txBody>
          <a:bodyPr>
            <a:normAutofit/>
          </a:bodyPr>
          <a:lstStyle>
            <a:lvl1pPr>
              <a:defRPr sz="1800"/>
            </a:lvl1pPr>
            <a:lvl2pPr>
              <a:defRPr sz="1800"/>
            </a:lvl2pPr>
            <a:lvl3pPr marL="822472">
              <a:defRPr sz="1500"/>
            </a:lvl3pPr>
            <a:lvl4pPr marL="1140734" indent="-226883">
              <a:defRPr sz="1425"/>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itle 3"/>
          <p:cNvSpPr>
            <a:spLocks noGrp="1"/>
          </p:cNvSpPr>
          <p:nvPr>
            <p:ph type="title"/>
          </p:nvPr>
        </p:nvSpPr>
        <p:spPr>
          <a:xfrm>
            <a:off x="389436" y="228600"/>
            <a:ext cx="8363938" cy="443198"/>
          </a:xfrm>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252580295"/>
      </p:ext>
    </p:extLst>
  </p:cSld>
  <p:clrMapOvr>
    <a:masterClrMapping/>
  </p:clrMapOvr>
  <p:transition spd="slow">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32533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9342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298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34147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789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8EBE8D1-B26E-44A3-BBD8-75BE448BF4B8}"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05538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22135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940812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4441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9982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9/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4894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C886391A-A986-45EB-86EF-209E2558F67E}"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9515A09-9E6A-42FD-8BC3-00AD3D38A1A8}"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07A79BC-A05F-491F-822C-CFD45EF002CD}"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0BF1C77-0210-4329-9F4F-F02D82A3124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68E5290-F885-4B64-A1E8-76EE0E91ED41}"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3.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3.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099"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77250CC5-E589-48A3-B4F1-2491DE0F186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24">
            <a:alphaModFix amt="70000"/>
            <a:extLst>
              <a:ext uri="{28A0092B-C50C-407E-A947-70E740481C1C}">
                <a14:useLocalDpi xmlns:a14="http://schemas.microsoft.com/office/drawing/2010/main" val="0"/>
              </a:ext>
            </a:extLst>
          </a:blip>
          <a:srcRect/>
          <a:stretch>
            <a:fillRect/>
          </a:stretch>
        </p:blipFill>
        <p:spPr bwMode="auto">
          <a:xfrm>
            <a:off x="1" y="1"/>
            <a:ext cx="9144002"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618518"/>
            <a:ext cx="7773338" cy="1596177"/>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331" y="2367094"/>
            <a:ext cx="7773339" cy="342410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5759053" y="5883276"/>
            <a:ext cx="2057400" cy="365125"/>
          </a:xfrm>
          <a:prstGeom prst="rect">
            <a:avLst/>
          </a:prstGeom>
        </p:spPr>
        <p:txBody>
          <a:bodyPr vert="horz" lIns="91440" tIns="45720" rIns="91440" bIns="45720" rtlCol="0" anchor="ctr"/>
          <a:lstStyle>
            <a:lvl1pPr algn="r">
              <a:defRPr sz="750">
                <a:solidFill>
                  <a:schemeClr val="tx1"/>
                </a:solidFill>
              </a:defRPr>
            </a:lvl1pPr>
          </a:lstStyle>
          <a:p>
            <a:pPr defTabSz="342900" fontAlgn="auto">
              <a:spcBef>
                <a:spcPts val="0"/>
              </a:spcBef>
              <a:spcAft>
                <a:spcPts val="0"/>
              </a:spcAft>
            </a:pPr>
            <a:fld id="{48A87A34-81AB-432B-8DAE-1953F412C126}" type="datetimeFigureOut">
              <a:rPr lang="en-US" smtClean="0">
                <a:solidFill>
                  <a:prstClr val="black"/>
                </a:solidFill>
                <a:latin typeface="Tw Cen MT" panose="020B0602020104020603"/>
              </a:rPr>
              <a:pPr defTabSz="342900" fontAlgn="auto">
                <a:spcBef>
                  <a:spcPts val="0"/>
                </a:spcBef>
                <a:spcAft>
                  <a:spcPts val="0"/>
                </a:spcAft>
              </a:pPr>
              <a:t>9/9/2014</a:t>
            </a:fld>
            <a:endParaRPr lang="en-US" dirty="0">
              <a:solidFill>
                <a:prstClr val="black"/>
              </a:solidFill>
              <a:latin typeface="Tw Cen MT" panose="020B0602020104020603"/>
            </a:endParaRPr>
          </a:p>
        </p:txBody>
      </p:sp>
      <p:sp>
        <p:nvSpPr>
          <p:cNvPr id="5" name="Footer Placeholder 4"/>
          <p:cNvSpPr>
            <a:spLocks noGrp="1"/>
          </p:cNvSpPr>
          <p:nvPr>
            <p:ph type="ftr" sz="quarter" idx="3"/>
          </p:nvPr>
        </p:nvSpPr>
        <p:spPr>
          <a:xfrm>
            <a:off x="685331" y="5883276"/>
            <a:ext cx="5004665" cy="365125"/>
          </a:xfrm>
          <a:prstGeom prst="rect">
            <a:avLst/>
          </a:prstGeom>
        </p:spPr>
        <p:txBody>
          <a:bodyPr vert="horz" lIns="91440" tIns="45720" rIns="91440" bIns="45720" rtlCol="0" anchor="ctr"/>
          <a:lstStyle>
            <a:lvl1pPr algn="l">
              <a:defRPr sz="750">
                <a:solidFill>
                  <a:schemeClr val="tx1"/>
                </a:solidFill>
              </a:defRPr>
            </a:lvl1pPr>
          </a:lstStyle>
          <a:p>
            <a:pPr defTabSz="342900" fontAlgn="auto">
              <a:spcBef>
                <a:spcPts val="0"/>
              </a:spcBef>
              <a:spcAft>
                <a:spcPts val="0"/>
              </a:spcAft>
            </a:pPr>
            <a:endParaRPr lang="en-US" dirty="0">
              <a:solidFill>
                <a:prstClr val="black"/>
              </a:solidFill>
              <a:latin typeface="Tw Cen MT" panose="020B0602020104020603"/>
            </a:endParaRPr>
          </a:p>
        </p:txBody>
      </p:sp>
      <p:sp>
        <p:nvSpPr>
          <p:cNvPr id="6" name="Slide Number Placeholder 5"/>
          <p:cNvSpPr>
            <a:spLocks noGrp="1"/>
          </p:cNvSpPr>
          <p:nvPr>
            <p:ph type="sldNum" sz="quarter" idx="4"/>
          </p:nvPr>
        </p:nvSpPr>
        <p:spPr>
          <a:xfrm>
            <a:off x="7885509" y="5883276"/>
            <a:ext cx="573161" cy="365125"/>
          </a:xfrm>
          <a:prstGeom prst="rect">
            <a:avLst/>
          </a:prstGeom>
        </p:spPr>
        <p:txBody>
          <a:bodyPr vert="horz" lIns="91440" tIns="45720" rIns="91440" bIns="45720" rtlCol="0" anchor="ctr"/>
          <a:lstStyle>
            <a:lvl1pPr algn="r">
              <a:defRPr sz="750">
                <a:solidFill>
                  <a:schemeClr val="tx1"/>
                </a:solidFill>
              </a:defRPr>
            </a:lvl1pPr>
          </a:lstStyle>
          <a:p>
            <a:pPr defTabSz="342900" fontAlgn="auto">
              <a:spcBef>
                <a:spcPts val="0"/>
              </a:spcBef>
              <a:spcAft>
                <a:spcPts val="0"/>
              </a:spcAft>
            </a:pPr>
            <a:fld id="{6D22F896-40B5-4ADD-8801-0D06FADFA095}" type="slidenum">
              <a:rPr lang="en-US" smtClean="0">
                <a:solidFill>
                  <a:prstClr val="black"/>
                </a:solidFill>
                <a:latin typeface="Tw Cen MT" panose="020B0602020104020603"/>
              </a:rPr>
              <a:pPr defTabSz="342900" fontAlgn="auto">
                <a:spcBef>
                  <a:spcPts val="0"/>
                </a:spcBef>
                <a:spcAft>
                  <a:spcPts val="0"/>
                </a:spcAft>
              </a:pPr>
              <a:t>‹#›</a:t>
            </a:fld>
            <a:endParaRPr lang="en-US" dirty="0">
              <a:solidFill>
                <a:prstClr val="black"/>
              </a:solidFill>
              <a:latin typeface="Tw Cen MT" panose="020B0602020104020603"/>
            </a:endParaRP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958704" y="6477001"/>
            <a:ext cx="2232656" cy="457200"/>
          </a:xfrm>
          <a:prstGeom prst="rect">
            <a:avLst/>
          </a:prstGeom>
        </p:spPr>
      </p:pic>
      <p:pic>
        <p:nvPicPr>
          <p:cNvPr id="9" name="Picture 2" descr="\\sfp.silverfoxprod.com\Work\White_Whale\5-10358_Alyssa_Felda\MS_Templates_2011\SFP_Art\PNG\MRC_Logo_White.png"/>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invGray">
          <a:xfrm>
            <a:off x="51673" y="6446521"/>
            <a:ext cx="2255825"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19592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xStyles>
    <p:titleStyle>
      <a:lvl1pPr algn="ctr" defTabSz="685800" rtl="0" eaLnBrk="1" latinLnBrk="0" hangingPunct="1">
        <a:lnSpc>
          <a:spcPct val="90000"/>
        </a:lnSpc>
        <a:spcBef>
          <a:spcPct val="0"/>
        </a:spcBef>
        <a:buNone/>
        <a:defRPr sz="3000" kern="1200" cap="small" baseline="0">
          <a:solidFill>
            <a:schemeClr val="tx1"/>
          </a:solidFill>
          <a:effectLst/>
          <a:latin typeface="+mj-lt"/>
          <a:ea typeface="+mj-ea"/>
          <a:cs typeface="+mj-cs"/>
        </a:defRPr>
      </a:lvl1pPr>
    </p:titleStyle>
    <p:bodyStyle>
      <a:lvl1pPr marL="171450" indent="-171450" algn="l" defTabSz="685800" rtl="0" eaLnBrk="1" latinLnBrk="0" hangingPunct="1">
        <a:lnSpc>
          <a:spcPct val="100000"/>
        </a:lnSpc>
        <a:spcBef>
          <a:spcPts val="750"/>
        </a:spcBef>
        <a:buClr>
          <a:schemeClr val="tx1"/>
        </a:buClr>
        <a:buFont typeface="Arial" panose="020B0604020202020204" pitchFamily="34" charset="0"/>
        <a:buChar char="•"/>
        <a:defRPr sz="1800" kern="1200" cap="small" baseline="0">
          <a:solidFill>
            <a:schemeClr val="tx1"/>
          </a:solidFill>
          <a:effectLst/>
          <a:latin typeface="+mn-lt"/>
          <a:ea typeface="+mn-ea"/>
          <a:cs typeface="+mn-cs"/>
        </a:defRPr>
      </a:lvl1pPr>
      <a:lvl2pPr marL="514350" indent="-171450" algn="l" defTabSz="685800" rtl="0" eaLnBrk="1" latinLnBrk="0" hangingPunct="1">
        <a:lnSpc>
          <a:spcPct val="100000"/>
        </a:lnSpc>
        <a:spcBef>
          <a:spcPts val="375"/>
        </a:spcBef>
        <a:buClr>
          <a:schemeClr val="tx1"/>
        </a:buClr>
        <a:buFont typeface="Arial" panose="020B0604020202020204" pitchFamily="34" charset="0"/>
        <a:buChar char="•"/>
        <a:defRPr sz="1500" kern="1200" cap="small" baseline="0">
          <a:solidFill>
            <a:schemeClr val="tx1"/>
          </a:solidFill>
          <a:effectLst/>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350" kern="1200" cap="small" baseline="0">
          <a:solidFill>
            <a:schemeClr val="tx1"/>
          </a:solidFill>
          <a:effectLst/>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200" kern="1200" cap="small" baseline="0">
          <a:solidFill>
            <a:schemeClr val="tx1"/>
          </a:solidFill>
          <a:effectLst/>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200" kern="1200" cap="small" baseline="0">
          <a:solidFill>
            <a:schemeClr val="tx1"/>
          </a:solidFill>
          <a:effectLst/>
          <a:latin typeface="+mn-lt"/>
          <a:ea typeface="+mn-ea"/>
          <a:cs typeface="+mn-cs"/>
        </a:defRPr>
      </a:lvl5pPr>
      <a:lvl6pPr marL="18859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6pPr>
      <a:lvl7pPr marL="22288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7pPr>
      <a:lvl8pPr marL="25717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8pPr>
      <a:lvl9pPr marL="29146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47469F90-244D-4FCC-913A-AB8A364D2719}" type="datetimeFigureOut">
              <a:rPr lang="en-US" smtClean="0">
                <a:solidFill>
                  <a:prstClr val="black">
                    <a:tint val="75000"/>
                  </a:prstClr>
                </a:solidFill>
                <a:latin typeface="Calibri"/>
              </a:rPr>
              <a:pPr fontAlgn="auto">
                <a:spcBef>
                  <a:spcPts val="0"/>
                </a:spcBef>
                <a:spcAft>
                  <a:spcPts val="0"/>
                </a:spcAft>
              </a:pPr>
              <a:t>9/9/2014</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5923FAED-1767-4A6C-B46B-4F26981D34CC}" type="slidenum">
              <a:rPr lang="en-US" smtClean="0">
                <a:solidFill>
                  <a:prstClr val="black">
                    <a:tint val="75000"/>
                  </a:prstClr>
                </a:solidFill>
                <a:latin typeface="Calibri"/>
              </a:rPr>
              <a:pPr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8644405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hyperlink" Target="http://www.horizon-systems.com/nhdplus/" TargetMode="Externa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hyperlink" Target="http://nationalmap.gov/viewer.html" TargetMode="External"/><Relationship Id="rId4" Type="http://schemas.openxmlformats.org/officeDocument/2006/relationships/hyperlink" Target="http://ned.usgs.gov/"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nationalmap.gov/viewer.html" TargetMode="External"/><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hyperlink" Target="http://hydrosheds.cr.usgs.gov/" TargetMode="External"/><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lta.cr.usgs.gov/GTOPO30" TargetMode="External"/><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hyperlink" Target="https://lta.cr.usgs.gov/HYDRO1K" TargetMode="External"/><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websoilsurvey.sc.egov.usda.gov/App/WebSoilSurvey.aspx" TargetMode="External"/><Relationship Id="rId2" Type="http://schemas.openxmlformats.org/officeDocument/2006/relationships/hyperlink" Target="http://www.nrcs.usda.gov/wps/portal/nrcs/site/soils/home/" TargetMode="External"/><Relationship Id="rId1" Type="http://schemas.openxmlformats.org/officeDocument/2006/relationships/slideLayout" Target="../slideLayouts/slideLayout1.xml"/><Relationship Id="rId4" Type="http://schemas.openxmlformats.org/officeDocument/2006/relationships/hyperlink" Target="http://datagateway.nrcs.usda.gov/"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hyperlink" Target="http://datagateway.nrcs.usda.gov/"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websoilsurvey.nrcs.usda.gov/DataAvailability/SoilDataAvailabilityMap.pdf" TargetMode="Externa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landcover.usgs.gov/" TargetMode="External"/><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ater.usgs.gov/GIS/huc_name.html" TargetMode="Externa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www.mrlc.gov/" TargetMode="Externa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hyperlink" Target="http://www.nationalatlas.gov/atlasftp.html"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climate.gov/" TargetMode="External"/><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www.ncdc.noaa.gov/oa/ncdc.html" TargetMode="External"/><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www.wcc.nrcs.usda.gov/climate/prism.html" TargetMode="External"/><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waterdata.usgs.gov/nwis/rt" TargetMode="Externa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53.png"/><Relationship Id="rId5" Type="http://schemas.openxmlformats.org/officeDocument/2006/relationships/oleObject" Target="../embeddings/oleObject4.bin"/><Relationship Id="rId4"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hyperlink" Target="http://water.weather.gov/ahps/" TargetMode="External"/><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water.weather.gov/ahps/" TargetMode="Externa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xml"/><Relationship Id="rId4" Type="http://schemas.openxmlformats.org/officeDocument/2006/relationships/hyperlink" Target="http://enviroatlas.epa.gov/enviroatlas/"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xml"/><Relationship Id="rId4" Type="http://schemas.openxmlformats.org/officeDocument/2006/relationships/hyperlink" Target="http://www.wcc.nrcs.usda.gov/snotel/"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http://www.cbrfc.noaa.gov/" TargetMode="External"/><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hyperlink" Target="http://www.cbrfc.noaa.gov/station/sweplot/sweplot.cgi?tglu1" TargetMode="External"/><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xml"/><Relationship Id="rId4" Type="http://schemas.openxmlformats.org/officeDocument/2006/relationships/hyperlink" Target="http://www.tnris.org/"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www.twdb.state.tx.us/mapping/gisdata.asp" TargetMode="Externa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gis.utah.gov/" TargetMode="Externa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hyperlink" Target="http://gis.utah.gov/map-services/new-utah-terrain-base-map-and-cached-tile-service-available" TargetMode="External"/><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gis.utah.gov/data/" TargetMode="External"/><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geology.utah.gov/maps/gis/index.htm" TargetMode="External"/><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www.wrcc.dri.edu/" TargetMode="External"/><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hyperlink" Target="http://www.bearriverinfo.org/" TargetMode="External"/><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hyperlink" Target="http://greatsaltlakeinfo.org/" TargetMode="External"/><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www.nconemap.com/" TargetMode="External"/><Relationship Id="rId1" Type="http://schemas.openxmlformats.org/officeDocument/2006/relationships/slideLayout" Target="../slideLayouts/slideLayout6.xml"/><Relationship Id="rId5" Type="http://schemas.openxmlformats.org/officeDocument/2006/relationships/image" Target="../media/image80.png"/><Relationship Id="rId4" Type="http://schemas.openxmlformats.org/officeDocument/2006/relationships/image" Target="../media/image79.png"/></Relationships>
</file>

<file path=ppt/slides/_rels/slide5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www.ncfloodmaps.com/"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hyperlink" Target="http://nhd.usgs.gov/wbd.html"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xml"/><Relationship Id="rId1" Type="http://schemas.openxmlformats.org/officeDocument/2006/relationships/slideLayout" Target="../slideLayouts/slideLayout19.xml"/><Relationship Id="rId5" Type="http://schemas.openxmlformats.org/officeDocument/2006/relationships/image" Target="../media/image84.jpg"/><Relationship Id="rId4" Type="http://schemas.microsoft.com/office/2007/relationships/hdphoto" Target="../media/hdphoto2.wdp"/></Relationships>
</file>

<file path=ppt/slides/_rels/slide6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jpeg"/><Relationship Id="rId7" Type="http://schemas.openxmlformats.org/officeDocument/2006/relationships/image" Target="../media/image89.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88.jpeg"/><Relationship Id="rId11" Type="http://schemas.microsoft.com/office/2007/relationships/hdphoto" Target="../media/hdphoto3.wdp"/><Relationship Id="rId5" Type="http://schemas.openxmlformats.org/officeDocument/2006/relationships/image" Target="../media/image87.jpeg"/><Relationship Id="rId10" Type="http://schemas.openxmlformats.org/officeDocument/2006/relationships/image" Target="../media/image92.png"/><Relationship Id="rId4" Type="http://schemas.openxmlformats.org/officeDocument/2006/relationships/image" Target="../media/image86.jpeg"/><Relationship Id="rId9" Type="http://schemas.openxmlformats.org/officeDocument/2006/relationships/image" Target="../media/image91.png"/></Relationships>
</file>

<file path=ppt/slides/_rels/slide6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www.arcgis.com/features/maps/earth.html" TargetMode="External"/><Relationship Id="rId1" Type="http://schemas.openxmlformats.org/officeDocument/2006/relationships/slideLayout" Target="../slideLayouts/slideLayout40.xml"/><Relationship Id="rId5" Type="http://schemas.openxmlformats.org/officeDocument/2006/relationships/image" Target="../media/image95.png"/><Relationship Id="rId4" Type="http://schemas.openxmlformats.org/officeDocument/2006/relationships/image" Target="../media/image94.png"/></Relationships>
</file>

<file path=ppt/slides/_rels/slide64.xml.rels><?xml version="1.0" encoding="UTF-8" standalone="yes"?>
<Relationships xmlns="http://schemas.openxmlformats.org/package/2006/relationships"><Relationship Id="rId8" Type="http://schemas.openxmlformats.org/officeDocument/2006/relationships/hyperlink" Target="http://hydro.arcgis.com/arcgis/services" TargetMode="External"/><Relationship Id="rId3" Type="http://schemas.openxmlformats.org/officeDocument/2006/relationships/image" Target="../media/image97.png"/><Relationship Id="rId7" Type="http://schemas.openxmlformats.org/officeDocument/2006/relationships/hyperlink" Target="http://elevation.arcgis.com/arcgis/services/" TargetMode="External"/><Relationship Id="rId2" Type="http://schemas.openxmlformats.org/officeDocument/2006/relationships/image" Target="../media/image96.png"/><Relationship Id="rId1" Type="http://schemas.openxmlformats.org/officeDocument/2006/relationships/slideLayout" Target="../slideLayouts/slideLayout40.xml"/><Relationship Id="rId6" Type="http://schemas.openxmlformats.org/officeDocument/2006/relationships/hyperlink" Target="http://landscape3.arcgis.com/arcgis/services/" TargetMode="External"/><Relationship Id="rId5" Type="http://schemas.openxmlformats.org/officeDocument/2006/relationships/hyperlink" Target="http://landscape2.arcgis.com/arcgis/services/" TargetMode="External"/><Relationship Id="rId4" Type="http://schemas.openxmlformats.org/officeDocument/2006/relationships/hyperlink" Target="http://landscape1.arcgis.com/arcgis/services/"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40.xml"/><Relationship Id="rId4" Type="http://schemas.openxmlformats.org/officeDocument/2006/relationships/image" Target="../media/image100.pn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0.xml"/><Relationship Id="rId4" Type="http://schemas.openxmlformats.org/officeDocument/2006/relationships/image" Target="../media/image103.png"/></Relationships>
</file>

<file path=ppt/slides/_rels/slide6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40.xml"/><Relationship Id="rId4" Type="http://schemas.openxmlformats.org/officeDocument/2006/relationships/image" Target="../media/image106.png"/></Relationships>
</file>

<file path=ppt/slides/_rels/slide6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40.xml"/><Relationship Id="rId4" Type="http://schemas.openxmlformats.org/officeDocument/2006/relationships/image" Target="../media/image109.png"/></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chart" Target="../charts/chart1.xml"/><Relationship Id="rId1" Type="http://schemas.openxmlformats.org/officeDocument/2006/relationships/slideLayout" Target="../slideLayouts/slideLayout40.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7.xml.rels><?xml version="1.0" encoding="UTF-8" standalone="yes"?>
<Relationships xmlns="http://schemas.openxmlformats.org/package/2006/relationships"><Relationship Id="rId3" Type="http://schemas.openxmlformats.org/officeDocument/2006/relationships/hyperlink" Target="http://nationalmap.gov/" TargetMode="External"/><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hyperlink" Target="http://nhd.usgs.gov/"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2286000"/>
            <a:ext cx="8153400" cy="1676400"/>
          </a:xfrm>
        </p:spPr>
        <p:txBody>
          <a:bodyPr/>
          <a:lstStyle/>
          <a:p>
            <a:pPr eaLnBrk="1" hangingPunct="1"/>
            <a:r>
              <a:rPr lang="en-US" dirty="0" smtClean="0">
                <a:solidFill>
                  <a:schemeClr val="accent2"/>
                </a:solidFill>
              </a:rPr>
              <a:t>Data Sources for GIS in Water Resources</a:t>
            </a:r>
            <a:br>
              <a:rPr lang="en-US" dirty="0" smtClean="0">
                <a:solidFill>
                  <a:schemeClr val="accent2"/>
                </a:solidFill>
              </a:rPr>
            </a:br>
            <a:r>
              <a:rPr lang="en-US" dirty="0" smtClean="0">
                <a:solidFill>
                  <a:schemeClr val="accent2"/>
                </a:solidFill>
              </a:rPr>
              <a:t/>
            </a:r>
            <a:br>
              <a:rPr lang="en-US" dirty="0" smtClean="0">
                <a:solidFill>
                  <a:schemeClr val="accent2"/>
                </a:solidFill>
              </a:rPr>
            </a:br>
            <a:r>
              <a:rPr lang="en-US" sz="3600" dirty="0" smtClean="0">
                <a:solidFill>
                  <a:schemeClr val="accent2"/>
                </a:solidFill>
              </a:rPr>
              <a:t>by David R. Maidment, and David G. Tarboton </a:t>
            </a:r>
            <a:br>
              <a:rPr lang="en-US" sz="3600" dirty="0" smtClean="0">
                <a:solidFill>
                  <a:schemeClr val="accent2"/>
                </a:solidFill>
              </a:rPr>
            </a:br>
            <a:r>
              <a:rPr lang="en-US" sz="3600" dirty="0" smtClean="0">
                <a:solidFill>
                  <a:schemeClr val="accent2"/>
                </a:solidFill>
              </a:rPr>
              <a:t/>
            </a:r>
            <a:br>
              <a:rPr lang="en-US" sz="3600" dirty="0" smtClean="0">
                <a:solidFill>
                  <a:schemeClr val="accent2"/>
                </a:solidFill>
              </a:rPr>
            </a:br>
            <a:r>
              <a:rPr lang="en-US" sz="3600" dirty="0" smtClean="0">
                <a:solidFill>
                  <a:schemeClr val="accent2"/>
                </a:solidFill>
              </a:rPr>
              <a:t>GIS in Water Resources</a:t>
            </a:r>
            <a:br>
              <a:rPr lang="en-US" sz="3600" dirty="0" smtClean="0">
                <a:solidFill>
                  <a:schemeClr val="accent2"/>
                </a:solidFill>
              </a:rPr>
            </a:br>
            <a:r>
              <a:rPr lang="en-US" sz="3600" dirty="0" smtClean="0">
                <a:solidFill>
                  <a:schemeClr val="accent2"/>
                </a:solidFill>
              </a:rPr>
              <a:t>Fall 2014</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3"/>
          <p:cNvSpPr>
            <a:spLocks noGrp="1" noChangeArrowheads="1"/>
          </p:cNvSpPr>
          <p:nvPr>
            <p:ph type="body" sz="half" idx="1"/>
          </p:nvPr>
        </p:nvSpPr>
        <p:spPr>
          <a:xfrm>
            <a:off x="228600" y="1971004"/>
            <a:ext cx="3814763" cy="4114800"/>
          </a:xfrm>
        </p:spPr>
        <p:txBody>
          <a:bodyPr/>
          <a:lstStyle/>
          <a:p>
            <a:pPr eaLnBrk="1" hangingPunct="1"/>
            <a:r>
              <a:rPr lang="en-US" dirty="0" smtClean="0"/>
              <a:t>Slope</a:t>
            </a:r>
          </a:p>
          <a:p>
            <a:pPr eaLnBrk="1" hangingPunct="1"/>
            <a:r>
              <a:rPr lang="en-US" dirty="0" smtClean="0"/>
              <a:t>Elevation</a:t>
            </a:r>
          </a:p>
          <a:p>
            <a:pPr eaLnBrk="1" hangingPunct="1"/>
            <a:r>
              <a:rPr lang="en-US" dirty="0" smtClean="0">
                <a:solidFill>
                  <a:srgbClr val="FF3300"/>
                </a:solidFill>
              </a:rPr>
              <a:t>Mean annual flow</a:t>
            </a:r>
          </a:p>
          <a:p>
            <a:pPr lvl="1" eaLnBrk="1" hangingPunct="1"/>
            <a:r>
              <a:rPr lang="en-US" dirty="0" smtClean="0">
                <a:solidFill>
                  <a:srgbClr val="FF3300"/>
                </a:solidFill>
              </a:rPr>
              <a:t>Corresponding velocity</a:t>
            </a:r>
          </a:p>
          <a:p>
            <a:pPr eaLnBrk="1" hangingPunct="1"/>
            <a:r>
              <a:rPr lang="en-US" dirty="0" smtClean="0"/>
              <a:t>Drainage area</a:t>
            </a:r>
          </a:p>
          <a:p>
            <a:pPr eaLnBrk="1" hangingPunct="1"/>
            <a:r>
              <a:rPr lang="en-US" dirty="0" smtClean="0"/>
              <a:t>% of upstream drainage area in different land uses</a:t>
            </a:r>
          </a:p>
          <a:p>
            <a:pPr eaLnBrk="1" hangingPunct="1"/>
            <a:r>
              <a:rPr lang="en-US" dirty="0" smtClean="0"/>
              <a:t>Stream order</a:t>
            </a:r>
          </a:p>
        </p:txBody>
      </p:sp>
      <p:pic>
        <p:nvPicPr>
          <p:cNvPr id="2" name="Picture 1"/>
          <p:cNvPicPr>
            <a:picLocks noChangeAspect="1"/>
          </p:cNvPicPr>
          <p:nvPr/>
        </p:nvPicPr>
        <p:blipFill rotWithShape="1">
          <a:blip r:embed="rId3"/>
          <a:srcRect r="8644"/>
          <a:stretch/>
        </p:blipFill>
        <p:spPr>
          <a:xfrm>
            <a:off x="4043363" y="1971004"/>
            <a:ext cx="5100637" cy="4048796"/>
          </a:xfrm>
          <a:prstGeom prst="rect">
            <a:avLst/>
          </a:prstGeom>
        </p:spPr>
      </p:pic>
      <p:cxnSp>
        <p:nvCxnSpPr>
          <p:cNvPr id="4" name="Straight Arrow Connector 3"/>
          <p:cNvCxnSpPr/>
          <p:nvPr/>
        </p:nvCxnSpPr>
        <p:spPr>
          <a:xfrm flipV="1">
            <a:off x="6019800" y="4138612"/>
            <a:ext cx="1371600" cy="35718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4043363" y="5458692"/>
            <a:ext cx="1290637" cy="304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043363" y="4147848"/>
            <a:ext cx="1366837" cy="18400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068763" y="3380509"/>
            <a:ext cx="1100138" cy="15701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4"/>
          <a:stretch>
            <a:fillRect/>
          </a:stretch>
        </p:blipFill>
        <p:spPr>
          <a:xfrm>
            <a:off x="613304" y="220391"/>
            <a:ext cx="7856442" cy="1472172"/>
          </a:xfrm>
          <a:prstGeom prst="rect">
            <a:avLst/>
          </a:prstGeom>
        </p:spPr>
      </p:pic>
      <p:sp>
        <p:nvSpPr>
          <p:cNvPr id="8" name="Rectangle 7"/>
          <p:cNvSpPr/>
          <p:nvPr/>
        </p:nvSpPr>
        <p:spPr>
          <a:xfrm>
            <a:off x="1694874" y="6234460"/>
            <a:ext cx="6774872" cy="461665"/>
          </a:xfrm>
          <a:prstGeom prst="rect">
            <a:avLst/>
          </a:prstGeom>
        </p:spPr>
        <p:txBody>
          <a:bodyPr wrap="square">
            <a:spAutoFit/>
          </a:bodyPr>
          <a:lstStyle/>
          <a:p>
            <a:r>
              <a:rPr lang="en-US" dirty="0">
                <a:hlinkClick r:id="rId5"/>
              </a:rPr>
              <a:t>http://www.horizon-systems.com/nhdplus</a:t>
            </a:r>
            <a:r>
              <a:rPr lang="en-US" dirty="0" smtClean="0">
                <a:hlinkClick r:id="rId5"/>
              </a:rPr>
              <a:t>/</a:t>
            </a:r>
            <a:r>
              <a:rPr lang="en-US" dirty="0" smtClean="0"/>
              <a:t> </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447800" y="533400"/>
            <a:ext cx="6883400" cy="1125538"/>
          </a:xfrm>
        </p:spPr>
        <p:txBody>
          <a:bodyPr/>
          <a:lstStyle/>
          <a:p>
            <a:pPr eaLnBrk="1" hangingPunct="1"/>
            <a:r>
              <a:rPr lang="en-US" dirty="0" smtClean="0"/>
              <a:t>River Reach Codes</a:t>
            </a:r>
            <a:br>
              <a:rPr lang="en-US" dirty="0" smtClean="0"/>
            </a:br>
            <a:r>
              <a:rPr lang="en-US" sz="3200" dirty="0" smtClean="0"/>
              <a:t>Used for river address locations</a:t>
            </a:r>
          </a:p>
        </p:txBody>
      </p:sp>
      <p:pic>
        <p:nvPicPr>
          <p:cNvPr id="19459" name="Picture 3" descr="zoomin"/>
          <p:cNvPicPr>
            <a:picLocks noChangeAspect="1" noChangeArrowheads="1"/>
          </p:cNvPicPr>
          <p:nvPr/>
        </p:nvPicPr>
        <p:blipFill>
          <a:blip r:embed="rId2" cstate="print"/>
          <a:srcRect/>
          <a:stretch>
            <a:fillRect/>
          </a:stretch>
        </p:blipFill>
        <p:spPr bwMode="auto">
          <a:xfrm>
            <a:off x="2932113" y="1897063"/>
            <a:ext cx="4537075" cy="4289425"/>
          </a:xfrm>
          <a:prstGeom prst="rect">
            <a:avLst/>
          </a:prstGeom>
          <a:noFill/>
          <a:ln w="9525">
            <a:noFill/>
            <a:miter lim="800000"/>
            <a:headEnd/>
            <a:tailEnd/>
          </a:ln>
        </p:spPr>
      </p:pic>
      <p:sp>
        <p:nvSpPr>
          <p:cNvPr id="19460" name="Text Box 4"/>
          <p:cNvSpPr txBox="1">
            <a:spLocks noChangeArrowheads="1"/>
          </p:cNvSpPr>
          <p:nvPr/>
        </p:nvSpPr>
        <p:spPr bwMode="auto">
          <a:xfrm>
            <a:off x="6269038" y="2319338"/>
            <a:ext cx="2317750" cy="822325"/>
          </a:xfrm>
          <a:prstGeom prst="rect">
            <a:avLst/>
          </a:prstGeom>
          <a:noFill/>
          <a:ln w="9525">
            <a:noFill/>
            <a:miter lim="800000"/>
            <a:headEnd/>
            <a:tailEnd/>
          </a:ln>
        </p:spPr>
        <p:txBody>
          <a:bodyPr wrap="none">
            <a:spAutoFit/>
          </a:bodyPr>
          <a:lstStyle/>
          <a:p>
            <a:pPr algn="ctr"/>
            <a:r>
              <a:rPr lang="en-US" b="1"/>
              <a:t>ReachCode = </a:t>
            </a:r>
          </a:p>
          <a:p>
            <a:pPr algn="ctr"/>
            <a:r>
              <a:rPr lang="en-US" b="1">
                <a:solidFill>
                  <a:srgbClr val="008000"/>
                </a:solidFill>
              </a:rPr>
              <a:t>12030102</a:t>
            </a:r>
            <a:r>
              <a:rPr lang="en-US" b="1">
                <a:solidFill>
                  <a:schemeClr val="accent2"/>
                </a:solidFill>
              </a:rPr>
              <a:t>000151</a:t>
            </a:r>
          </a:p>
        </p:txBody>
      </p:sp>
      <p:sp>
        <p:nvSpPr>
          <p:cNvPr id="19461" name="Line 5"/>
          <p:cNvSpPr>
            <a:spLocks noChangeShapeType="1"/>
          </p:cNvSpPr>
          <p:nvPr/>
        </p:nvSpPr>
        <p:spPr bwMode="auto">
          <a:xfrm flipH="1">
            <a:off x="5903913" y="2659063"/>
            <a:ext cx="609600" cy="685800"/>
          </a:xfrm>
          <a:prstGeom prst="line">
            <a:avLst/>
          </a:prstGeom>
          <a:noFill/>
          <a:ln w="9525">
            <a:solidFill>
              <a:schemeClr val="tx1"/>
            </a:solidFill>
            <a:round/>
            <a:headEnd/>
            <a:tailEnd type="triangle" w="med" len="med"/>
          </a:ln>
        </p:spPr>
        <p:txBody>
          <a:bodyPr/>
          <a:lstStyle/>
          <a:p>
            <a:endParaRPr lang="en-US"/>
          </a:p>
        </p:txBody>
      </p:sp>
      <p:sp>
        <p:nvSpPr>
          <p:cNvPr id="19462" name="Rectangle 6"/>
          <p:cNvSpPr>
            <a:spLocks noChangeArrowheads="1"/>
          </p:cNvSpPr>
          <p:nvPr/>
        </p:nvSpPr>
        <p:spPr bwMode="auto">
          <a:xfrm>
            <a:off x="265113" y="3649663"/>
            <a:ext cx="2514600" cy="822325"/>
          </a:xfrm>
          <a:prstGeom prst="rect">
            <a:avLst/>
          </a:prstGeom>
          <a:noFill/>
          <a:ln w="9525">
            <a:noFill/>
            <a:miter lim="800000"/>
            <a:headEnd/>
            <a:tailEnd/>
          </a:ln>
        </p:spPr>
        <p:txBody>
          <a:bodyPr>
            <a:spAutoFit/>
          </a:bodyPr>
          <a:lstStyle/>
          <a:p>
            <a:pPr algn="ctr">
              <a:spcBef>
                <a:spcPct val="50000"/>
              </a:spcBef>
            </a:pPr>
            <a:r>
              <a:rPr lang="en-US" b="1" dirty="0" err="1"/>
              <a:t>ReachCode</a:t>
            </a:r>
            <a:r>
              <a:rPr lang="en-US" b="1" dirty="0"/>
              <a:t> = </a:t>
            </a:r>
            <a:r>
              <a:rPr lang="en-US" b="1" dirty="0">
                <a:solidFill>
                  <a:srgbClr val="008000"/>
                </a:solidFill>
              </a:rPr>
              <a:t>12030102</a:t>
            </a:r>
            <a:r>
              <a:rPr lang="en-US" b="1" dirty="0">
                <a:solidFill>
                  <a:schemeClr val="accent2"/>
                </a:solidFill>
              </a:rPr>
              <a:t>000005</a:t>
            </a:r>
          </a:p>
        </p:txBody>
      </p:sp>
      <p:sp>
        <p:nvSpPr>
          <p:cNvPr id="19463" name="Line 7"/>
          <p:cNvSpPr>
            <a:spLocks noChangeShapeType="1"/>
          </p:cNvSpPr>
          <p:nvPr/>
        </p:nvSpPr>
        <p:spPr bwMode="auto">
          <a:xfrm flipV="1">
            <a:off x="2627313" y="3497263"/>
            <a:ext cx="1600200" cy="685800"/>
          </a:xfrm>
          <a:prstGeom prst="line">
            <a:avLst/>
          </a:prstGeom>
          <a:noFill/>
          <a:ln w="9525">
            <a:solidFill>
              <a:schemeClr val="tx1"/>
            </a:solidFill>
            <a:round/>
            <a:headEnd/>
            <a:tailEnd type="triangle" w="med" len="med"/>
          </a:ln>
        </p:spPr>
        <p:txBody>
          <a:bodyPr/>
          <a:lstStyle/>
          <a:p>
            <a:endParaRPr lang="en-US"/>
          </a:p>
        </p:txBody>
      </p:sp>
      <p:sp>
        <p:nvSpPr>
          <p:cNvPr id="19464" name="Text Box 8"/>
          <p:cNvSpPr txBox="1">
            <a:spLocks noChangeArrowheads="1"/>
          </p:cNvSpPr>
          <p:nvPr/>
        </p:nvSpPr>
        <p:spPr bwMode="auto">
          <a:xfrm>
            <a:off x="401638" y="4986338"/>
            <a:ext cx="981075" cy="457200"/>
          </a:xfrm>
          <a:prstGeom prst="rect">
            <a:avLst/>
          </a:prstGeom>
          <a:noFill/>
          <a:ln w="9525">
            <a:noFill/>
            <a:miter lim="800000"/>
            <a:headEnd/>
            <a:tailEnd/>
          </a:ln>
        </p:spPr>
        <p:txBody>
          <a:bodyPr wrap="none">
            <a:spAutoFit/>
          </a:bodyPr>
          <a:lstStyle/>
          <a:p>
            <a:r>
              <a:rPr lang="en-US"/>
              <a:t>HUC#</a:t>
            </a:r>
          </a:p>
        </p:txBody>
      </p:sp>
      <p:sp>
        <p:nvSpPr>
          <p:cNvPr id="19465" name="Line 9"/>
          <p:cNvSpPr>
            <a:spLocks noChangeShapeType="1"/>
          </p:cNvSpPr>
          <p:nvPr/>
        </p:nvSpPr>
        <p:spPr bwMode="auto">
          <a:xfrm flipV="1">
            <a:off x="722313" y="4335463"/>
            <a:ext cx="228600" cy="685800"/>
          </a:xfrm>
          <a:prstGeom prst="line">
            <a:avLst/>
          </a:prstGeom>
          <a:noFill/>
          <a:ln w="9525">
            <a:solidFill>
              <a:schemeClr val="tx1"/>
            </a:solidFill>
            <a:round/>
            <a:headEnd/>
            <a:tailEnd type="triangle" w="med" len="med"/>
          </a:ln>
        </p:spPr>
        <p:txBody>
          <a:bodyPr/>
          <a:lstStyle/>
          <a:p>
            <a:endParaRPr lang="en-US"/>
          </a:p>
        </p:txBody>
      </p:sp>
      <p:sp>
        <p:nvSpPr>
          <p:cNvPr id="19466" name="Text Box 10"/>
          <p:cNvSpPr txBox="1">
            <a:spLocks noChangeArrowheads="1"/>
          </p:cNvSpPr>
          <p:nvPr/>
        </p:nvSpPr>
        <p:spPr bwMode="auto">
          <a:xfrm>
            <a:off x="1560513" y="4945063"/>
            <a:ext cx="1401762" cy="457200"/>
          </a:xfrm>
          <a:prstGeom prst="rect">
            <a:avLst/>
          </a:prstGeom>
          <a:noFill/>
          <a:ln w="9525">
            <a:noFill/>
            <a:miter lim="800000"/>
            <a:headEnd/>
            <a:tailEnd/>
          </a:ln>
        </p:spPr>
        <p:txBody>
          <a:bodyPr wrap="none">
            <a:spAutoFit/>
          </a:bodyPr>
          <a:lstStyle/>
          <a:p>
            <a:r>
              <a:rPr lang="en-US"/>
              <a:t>Segment#</a:t>
            </a:r>
            <a:endParaRPr lang="en-US" b="1"/>
          </a:p>
        </p:txBody>
      </p:sp>
      <p:sp>
        <p:nvSpPr>
          <p:cNvPr id="19467" name="Line 11"/>
          <p:cNvSpPr>
            <a:spLocks noChangeShapeType="1"/>
          </p:cNvSpPr>
          <p:nvPr/>
        </p:nvSpPr>
        <p:spPr bwMode="auto">
          <a:xfrm flipH="1" flipV="1">
            <a:off x="2170113" y="4411663"/>
            <a:ext cx="76200" cy="685800"/>
          </a:xfrm>
          <a:prstGeom prst="line">
            <a:avLst/>
          </a:prstGeom>
          <a:noFill/>
          <a:ln w="9525">
            <a:solidFill>
              <a:schemeClr val="tx1"/>
            </a:solidFill>
            <a:round/>
            <a:headEnd/>
            <a:tailEnd type="triangle" w="med" len="med"/>
          </a:ln>
        </p:spPr>
        <p:txBody>
          <a:bodyPr/>
          <a:lstStyle/>
          <a:p>
            <a:endParaRPr lang="en-US"/>
          </a:p>
        </p:txBody>
      </p:sp>
      <p:sp>
        <p:nvSpPr>
          <p:cNvPr id="19468" name="Oval 12"/>
          <p:cNvSpPr>
            <a:spLocks noChangeArrowheads="1"/>
          </p:cNvSpPr>
          <p:nvPr/>
        </p:nvSpPr>
        <p:spPr bwMode="auto">
          <a:xfrm>
            <a:off x="4943475" y="3989388"/>
            <a:ext cx="239713" cy="255587"/>
          </a:xfrm>
          <a:prstGeom prst="ellipse">
            <a:avLst/>
          </a:prstGeom>
          <a:solidFill>
            <a:schemeClr val="hlink"/>
          </a:solidFill>
          <a:ln w="12700">
            <a:solidFill>
              <a:schemeClr val="hlink"/>
            </a:solidFill>
            <a:round/>
            <a:headEnd/>
            <a:tailEnd/>
          </a:ln>
        </p:spPr>
        <p:txBody>
          <a:bodyPr wrap="none" anchor="ctr"/>
          <a:lstStyle/>
          <a:p>
            <a:endParaRPr lang="en-US"/>
          </a:p>
        </p:txBody>
      </p:sp>
      <p:sp>
        <p:nvSpPr>
          <p:cNvPr id="19469" name="Text Box 13"/>
          <p:cNvSpPr txBox="1">
            <a:spLocks noChangeArrowheads="1"/>
          </p:cNvSpPr>
          <p:nvPr/>
        </p:nvSpPr>
        <p:spPr bwMode="auto">
          <a:xfrm>
            <a:off x="5854700" y="4910138"/>
            <a:ext cx="2317750" cy="1187450"/>
          </a:xfrm>
          <a:prstGeom prst="rect">
            <a:avLst/>
          </a:prstGeom>
          <a:solidFill>
            <a:srgbClr val="FFFFFF"/>
          </a:solidFill>
          <a:ln w="12700">
            <a:noFill/>
            <a:miter lim="800000"/>
            <a:headEnd/>
            <a:tailEnd/>
          </a:ln>
        </p:spPr>
        <p:txBody>
          <a:bodyPr wrap="none">
            <a:spAutoFit/>
          </a:bodyPr>
          <a:lstStyle/>
          <a:p>
            <a:pPr algn="ctr" eaLnBrk="0" hangingPunct="0"/>
            <a:r>
              <a:rPr lang="en-US">
                <a:solidFill>
                  <a:srgbClr val="FC0128"/>
                </a:solidFill>
              </a:rPr>
              <a:t>Location 0.392</a:t>
            </a:r>
          </a:p>
          <a:p>
            <a:pPr algn="ctr" eaLnBrk="0" hangingPunct="0"/>
            <a:r>
              <a:rPr lang="en-US">
                <a:solidFill>
                  <a:srgbClr val="FC0128"/>
                </a:solidFill>
              </a:rPr>
              <a:t>on Reach</a:t>
            </a:r>
          </a:p>
          <a:p>
            <a:pPr algn="ctr" eaLnBrk="0" hangingPunct="0"/>
            <a:r>
              <a:rPr lang="en-US">
                <a:solidFill>
                  <a:srgbClr val="FC0128"/>
                </a:solidFill>
              </a:rPr>
              <a:t>12030102000005</a:t>
            </a:r>
          </a:p>
        </p:txBody>
      </p:sp>
      <p:sp>
        <p:nvSpPr>
          <p:cNvPr id="19470" name="Line 14"/>
          <p:cNvSpPr>
            <a:spLocks noChangeShapeType="1"/>
          </p:cNvSpPr>
          <p:nvPr/>
        </p:nvSpPr>
        <p:spPr bwMode="auto">
          <a:xfrm flipH="1" flipV="1">
            <a:off x="5062538" y="4095750"/>
            <a:ext cx="930275" cy="1049338"/>
          </a:xfrm>
          <a:prstGeom prst="line">
            <a:avLst/>
          </a:prstGeom>
          <a:noFill/>
          <a:ln w="12700">
            <a:solidFill>
              <a:schemeClr val="tx1"/>
            </a:solidFill>
            <a:round/>
            <a:headEnd/>
            <a:tailEnd type="triangle" w="med" len="med"/>
          </a:ln>
        </p:spPr>
        <p:txBody>
          <a:bodyPr/>
          <a:lstStyle/>
          <a:p>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685800" y="221676"/>
            <a:ext cx="7772400" cy="1143000"/>
          </a:xfrm>
        </p:spPr>
        <p:txBody>
          <a:bodyPr/>
          <a:lstStyle/>
          <a:p>
            <a:pPr eaLnBrk="1" hangingPunct="1"/>
            <a:r>
              <a:rPr lang="en-US" smtClean="0">
                <a:solidFill>
                  <a:schemeClr val="accent2"/>
                </a:solidFill>
              </a:rPr>
              <a:t>National Elevation Dataset</a:t>
            </a:r>
          </a:p>
        </p:txBody>
      </p:sp>
      <p:sp>
        <p:nvSpPr>
          <p:cNvPr id="24579" name="Rectangle 3"/>
          <p:cNvSpPr>
            <a:spLocks noGrp="1" noChangeArrowheads="1"/>
          </p:cNvSpPr>
          <p:nvPr>
            <p:ph type="body" sz="half" idx="1"/>
          </p:nvPr>
        </p:nvSpPr>
        <p:spPr>
          <a:xfrm>
            <a:off x="277089" y="1675319"/>
            <a:ext cx="4950691" cy="4114800"/>
          </a:xfrm>
        </p:spPr>
        <p:txBody>
          <a:bodyPr/>
          <a:lstStyle/>
          <a:p>
            <a:pPr eaLnBrk="1" hangingPunct="1">
              <a:lnSpc>
                <a:spcPct val="90000"/>
              </a:lnSpc>
            </a:pPr>
            <a:r>
              <a:rPr lang="en-US" dirty="0" smtClean="0">
                <a:solidFill>
                  <a:srgbClr val="FF3300"/>
                </a:solidFill>
              </a:rPr>
              <a:t>Digital Elevation Model</a:t>
            </a:r>
            <a:r>
              <a:rPr lang="en-US" dirty="0" smtClean="0"/>
              <a:t> with 1 arc-second (30m</a:t>
            </a:r>
            <a:r>
              <a:rPr lang="en-US" dirty="0" smtClean="0"/>
              <a:t>), 1/3 arc-second (10m) and some 1/9 arc second (3m) cells </a:t>
            </a:r>
            <a:endParaRPr lang="en-US" dirty="0" smtClean="0"/>
          </a:p>
          <a:p>
            <a:pPr eaLnBrk="1" hangingPunct="1">
              <a:lnSpc>
                <a:spcPct val="90000"/>
              </a:lnSpc>
            </a:pPr>
            <a:r>
              <a:rPr lang="en-US" dirty="0"/>
              <a:t>Distributed as part of the National Map</a:t>
            </a:r>
          </a:p>
          <a:p>
            <a:pPr eaLnBrk="1" hangingPunct="1">
              <a:lnSpc>
                <a:spcPct val="90000"/>
              </a:lnSpc>
            </a:pPr>
            <a:r>
              <a:rPr lang="en-US" dirty="0" smtClean="0">
                <a:cs typeface="Times New Roman" pitchFamily="18" charset="0"/>
              </a:rPr>
              <a:t>10 billion data</a:t>
            </a:r>
          </a:p>
          <a:p>
            <a:pPr eaLnBrk="1" hangingPunct="1">
              <a:lnSpc>
                <a:spcPct val="90000"/>
              </a:lnSpc>
            </a:pPr>
            <a:r>
              <a:rPr lang="en-US" dirty="0" smtClean="0">
                <a:cs typeface="Times New Roman" pitchFamily="18" charset="0"/>
              </a:rPr>
              <a:t>Derived from USGS </a:t>
            </a:r>
            <a:r>
              <a:rPr lang="en-US" dirty="0" smtClean="0">
                <a:solidFill>
                  <a:srgbClr val="FF3300"/>
                </a:solidFill>
                <a:cs typeface="Times New Roman" pitchFamily="18" charset="0"/>
              </a:rPr>
              <a:t>1:24,000</a:t>
            </a:r>
            <a:r>
              <a:rPr lang="en-US" dirty="0" smtClean="0">
                <a:cs typeface="Times New Roman" pitchFamily="18" charset="0"/>
              </a:rPr>
              <a:t> quadrangle sheets and at higher resolution from LIDAR </a:t>
            </a:r>
            <a:endParaRPr lang="en-US" dirty="0" smtClean="0"/>
          </a:p>
        </p:txBody>
      </p:sp>
      <p:pic>
        <p:nvPicPr>
          <p:cNvPr id="24580" name="Picture 4" descr="texas"/>
          <p:cNvPicPr>
            <a:picLocks noChangeAspect="1" noChangeArrowheads="1"/>
          </p:cNvPicPr>
          <p:nvPr/>
        </p:nvPicPr>
        <p:blipFill>
          <a:blip r:embed="rId3" cstate="print"/>
          <a:srcRect/>
          <a:stretch>
            <a:fillRect/>
          </a:stretch>
        </p:blipFill>
        <p:spPr bwMode="auto">
          <a:xfrm>
            <a:off x="5181600" y="2057400"/>
            <a:ext cx="3124200" cy="3124200"/>
          </a:xfrm>
          <a:prstGeom prst="rect">
            <a:avLst/>
          </a:prstGeom>
          <a:noFill/>
          <a:ln w="9525">
            <a:noFill/>
            <a:miter lim="800000"/>
            <a:headEnd/>
            <a:tailEnd/>
          </a:ln>
        </p:spPr>
      </p:pic>
      <p:sp>
        <p:nvSpPr>
          <p:cNvPr id="24584" name="Text Box 7"/>
          <p:cNvSpPr txBox="1">
            <a:spLocks noChangeArrowheads="1"/>
          </p:cNvSpPr>
          <p:nvPr/>
        </p:nvSpPr>
        <p:spPr bwMode="auto">
          <a:xfrm>
            <a:off x="1981200" y="5943600"/>
            <a:ext cx="1738313" cy="457200"/>
          </a:xfrm>
          <a:prstGeom prst="rect">
            <a:avLst/>
          </a:prstGeom>
          <a:noFill/>
          <a:ln w="9525">
            <a:noFill/>
            <a:miter lim="800000"/>
            <a:headEnd/>
            <a:tailEnd/>
          </a:ln>
        </p:spPr>
        <p:txBody>
          <a:bodyPr wrap="none">
            <a:spAutoFit/>
          </a:bodyPr>
          <a:lstStyle/>
          <a:p>
            <a:r>
              <a:rPr lang="en-US"/>
              <a:t>Get the data:</a:t>
            </a:r>
          </a:p>
        </p:txBody>
      </p:sp>
      <p:sp>
        <p:nvSpPr>
          <p:cNvPr id="24582" name="Rectangle 9"/>
          <p:cNvSpPr>
            <a:spLocks noChangeArrowheads="1"/>
          </p:cNvSpPr>
          <p:nvPr/>
        </p:nvSpPr>
        <p:spPr bwMode="auto">
          <a:xfrm>
            <a:off x="2895600" y="1059876"/>
            <a:ext cx="2695575" cy="461963"/>
          </a:xfrm>
          <a:prstGeom prst="rect">
            <a:avLst/>
          </a:prstGeom>
          <a:noFill/>
          <a:ln w="9525">
            <a:noFill/>
            <a:miter lim="800000"/>
            <a:headEnd/>
            <a:tailEnd/>
          </a:ln>
        </p:spPr>
        <p:txBody>
          <a:bodyPr wrap="none">
            <a:spAutoFit/>
          </a:bodyPr>
          <a:lstStyle/>
          <a:p>
            <a:r>
              <a:rPr lang="en-US" dirty="0">
                <a:solidFill>
                  <a:schemeClr val="accent2"/>
                </a:solidFill>
                <a:hlinkClick r:id="rId4"/>
              </a:rPr>
              <a:t>http://ned.usgs.gov</a:t>
            </a:r>
            <a:r>
              <a:rPr lang="en-US" dirty="0" smtClean="0">
                <a:solidFill>
                  <a:schemeClr val="accent2"/>
                </a:solidFill>
                <a:hlinkClick r:id="rId4"/>
              </a:rPr>
              <a:t>/</a:t>
            </a:r>
            <a:r>
              <a:rPr lang="en-US" dirty="0" smtClean="0">
                <a:solidFill>
                  <a:schemeClr val="accent2"/>
                </a:solidFill>
              </a:rPr>
              <a:t> </a:t>
            </a:r>
            <a:endParaRPr lang="en-US" dirty="0">
              <a:solidFill>
                <a:schemeClr val="accent2"/>
              </a:solidFill>
            </a:endParaRPr>
          </a:p>
        </p:txBody>
      </p:sp>
      <p:sp>
        <p:nvSpPr>
          <p:cNvPr id="2" name="Rectangle 1"/>
          <p:cNvSpPr/>
          <p:nvPr/>
        </p:nvSpPr>
        <p:spPr>
          <a:xfrm>
            <a:off x="3711492" y="5915072"/>
            <a:ext cx="4518225" cy="461665"/>
          </a:xfrm>
          <a:prstGeom prst="rect">
            <a:avLst/>
          </a:prstGeom>
        </p:spPr>
        <p:txBody>
          <a:bodyPr wrap="none">
            <a:spAutoFit/>
          </a:bodyPr>
          <a:lstStyle/>
          <a:p>
            <a:r>
              <a:rPr lang="en-US" dirty="0">
                <a:hlinkClick r:id="rId5"/>
              </a:rPr>
              <a:t>http://nationalmap.gov/viewer.html</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85800" y="36945"/>
            <a:ext cx="7772400" cy="753761"/>
          </a:xfrm>
        </p:spPr>
        <p:txBody>
          <a:bodyPr/>
          <a:lstStyle/>
          <a:p>
            <a:r>
              <a:rPr lang="en-US" sz="3600" dirty="0" smtClean="0"/>
              <a:t>National Elevation Dataset Availability</a:t>
            </a:r>
            <a:endParaRPr lang="en-US" sz="3600" dirty="0"/>
          </a:p>
        </p:txBody>
      </p:sp>
      <p:pic>
        <p:nvPicPr>
          <p:cNvPr id="6" name="Picture 5"/>
          <p:cNvPicPr>
            <a:picLocks noChangeAspect="1"/>
          </p:cNvPicPr>
          <p:nvPr/>
        </p:nvPicPr>
        <p:blipFill>
          <a:blip r:embed="rId2"/>
          <a:stretch>
            <a:fillRect/>
          </a:stretch>
        </p:blipFill>
        <p:spPr>
          <a:xfrm>
            <a:off x="0" y="790706"/>
            <a:ext cx="9144000" cy="6067294"/>
          </a:xfrm>
          <a:prstGeom prst="rect">
            <a:avLst/>
          </a:prstGeom>
        </p:spPr>
      </p:pic>
      <p:sp>
        <p:nvSpPr>
          <p:cNvPr id="7" name="TextBox 6"/>
          <p:cNvSpPr txBox="1"/>
          <p:nvPr/>
        </p:nvSpPr>
        <p:spPr>
          <a:xfrm>
            <a:off x="2198255" y="5828222"/>
            <a:ext cx="5262018" cy="461665"/>
          </a:xfrm>
          <a:prstGeom prst="rect">
            <a:avLst/>
          </a:prstGeom>
          <a:solidFill>
            <a:schemeClr val="bg1"/>
          </a:solidFill>
        </p:spPr>
        <p:txBody>
          <a:bodyPr wrap="none" rtlCol="0">
            <a:spAutoFit/>
          </a:bodyPr>
          <a:lstStyle/>
          <a:p>
            <a:r>
              <a:rPr lang="en-US" dirty="0" smtClean="0"/>
              <a:t>From </a:t>
            </a:r>
            <a:r>
              <a:rPr lang="en-US" dirty="0" smtClean="0">
                <a:hlinkClick r:id="rId3"/>
              </a:rPr>
              <a:t>http</a:t>
            </a:r>
            <a:r>
              <a:rPr lang="en-US" dirty="0">
                <a:hlinkClick r:id="rId3"/>
              </a:rPr>
              <a:t>://</a:t>
            </a:r>
            <a:r>
              <a:rPr lang="en-US" dirty="0" smtClean="0">
                <a:hlinkClick r:id="rId3"/>
              </a:rPr>
              <a:t>nationalmap.gov/viewer.html</a:t>
            </a:r>
            <a:endParaRPr lang="en-US" dirty="0"/>
          </a:p>
        </p:txBody>
      </p:sp>
    </p:spTree>
    <p:extLst>
      <p:ext uri="{BB962C8B-B14F-4D97-AF65-F5344CB8AC3E}">
        <p14:creationId xmlns:p14="http://schemas.microsoft.com/office/powerpoint/2010/main" val="33151464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685800" y="609600"/>
            <a:ext cx="7772400" cy="685800"/>
          </a:xfrm>
        </p:spPr>
        <p:txBody>
          <a:bodyPr/>
          <a:lstStyle/>
          <a:p>
            <a:pPr eaLnBrk="1" hangingPunct="1"/>
            <a:r>
              <a:rPr lang="en-US" dirty="0" smtClean="0"/>
              <a:t>Digital Elevation Model (DEM)</a:t>
            </a:r>
          </a:p>
        </p:txBody>
      </p:sp>
      <p:pic>
        <p:nvPicPr>
          <p:cNvPr id="25603" name="Picture 3" descr="elevpts"/>
          <p:cNvPicPr>
            <a:picLocks noChangeAspect="1" noChangeArrowheads="1"/>
          </p:cNvPicPr>
          <p:nvPr/>
        </p:nvPicPr>
        <p:blipFill>
          <a:blip r:embed="rId2" cstate="print"/>
          <a:srcRect/>
          <a:stretch>
            <a:fillRect/>
          </a:stretch>
        </p:blipFill>
        <p:spPr bwMode="auto">
          <a:xfrm>
            <a:off x="685800" y="1676400"/>
            <a:ext cx="6470650" cy="4535488"/>
          </a:xfrm>
          <a:prstGeom prst="rect">
            <a:avLst/>
          </a:prstGeom>
          <a:noFill/>
          <a:ln w="9525">
            <a:noFill/>
            <a:miter lim="800000"/>
            <a:headEnd/>
            <a:tailEnd/>
          </a:ln>
        </p:spPr>
      </p:pic>
      <p:sp>
        <p:nvSpPr>
          <p:cNvPr id="25604" name="Text Box 4"/>
          <p:cNvSpPr txBox="1">
            <a:spLocks noChangeArrowheads="1"/>
          </p:cNvSpPr>
          <p:nvPr/>
        </p:nvSpPr>
        <p:spPr bwMode="auto">
          <a:xfrm>
            <a:off x="7469188" y="1600200"/>
            <a:ext cx="1674812"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Contours</a:t>
            </a:r>
            <a:endParaRPr lang="en-US" sz="3200"/>
          </a:p>
        </p:txBody>
      </p:sp>
      <p:sp>
        <p:nvSpPr>
          <p:cNvPr id="25605" name="Line 5"/>
          <p:cNvSpPr>
            <a:spLocks noChangeShapeType="1"/>
          </p:cNvSpPr>
          <p:nvPr/>
        </p:nvSpPr>
        <p:spPr bwMode="auto">
          <a:xfrm flipH="1">
            <a:off x="7237413" y="5410200"/>
            <a:ext cx="228600" cy="0"/>
          </a:xfrm>
          <a:prstGeom prst="line">
            <a:avLst/>
          </a:prstGeom>
          <a:noFill/>
          <a:ln w="38100">
            <a:solidFill>
              <a:srgbClr val="993300"/>
            </a:solidFill>
            <a:round/>
            <a:headEnd/>
            <a:tailEnd/>
          </a:ln>
        </p:spPr>
        <p:txBody>
          <a:bodyPr wrap="none" anchor="ctr"/>
          <a:lstStyle/>
          <a:p>
            <a:endParaRPr lang="en-US"/>
          </a:p>
        </p:txBody>
      </p:sp>
      <p:sp>
        <p:nvSpPr>
          <p:cNvPr id="25606" name="Line 6"/>
          <p:cNvSpPr>
            <a:spLocks noChangeShapeType="1"/>
          </p:cNvSpPr>
          <p:nvPr/>
        </p:nvSpPr>
        <p:spPr bwMode="auto">
          <a:xfrm flipH="1">
            <a:off x="7239000" y="3306763"/>
            <a:ext cx="228600" cy="0"/>
          </a:xfrm>
          <a:prstGeom prst="line">
            <a:avLst/>
          </a:prstGeom>
          <a:noFill/>
          <a:ln w="38100">
            <a:solidFill>
              <a:srgbClr val="993300"/>
            </a:solidFill>
            <a:round/>
            <a:headEnd/>
            <a:tailEnd/>
          </a:ln>
        </p:spPr>
        <p:txBody>
          <a:bodyPr wrap="none" anchor="ctr"/>
          <a:lstStyle/>
          <a:p>
            <a:endParaRPr lang="en-US"/>
          </a:p>
        </p:txBody>
      </p:sp>
      <p:sp>
        <p:nvSpPr>
          <p:cNvPr id="25607" name="Line 7"/>
          <p:cNvSpPr>
            <a:spLocks noChangeShapeType="1"/>
          </p:cNvSpPr>
          <p:nvPr/>
        </p:nvSpPr>
        <p:spPr bwMode="auto">
          <a:xfrm flipH="1">
            <a:off x="7229475" y="4389438"/>
            <a:ext cx="228600" cy="0"/>
          </a:xfrm>
          <a:prstGeom prst="line">
            <a:avLst/>
          </a:prstGeom>
          <a:noFill/>
          <a:ln w="38100">
            <a:solidFill>
              <a:srgbClr val="993300"/>
            </a:solidFill>
            <a:round/>
            <a:headEnd/>
            <a:tailEnd/>
          </a:ln>
        </p:spPr>
        <p:txBody>
          <a:bodyPr wrap="none" anchor="ctr"/>
          <a:lstStyle/>
          <a:p>
            <a:endParaRPr lang="en-US"/>
          </a:p>
        </p:txBody>
      </p:sp>
      <p:sp>
        <p:nvSpPr>
          <p:cNvPr id="25608" name="Text Box 8"/>
          <p:cNvSpPr txBox="1">
            <a:spLocks noChangeArrowheads="1"/>
          </p:cNvSpPr>
          <p:nvPr/>
        </p:nvSpPr>
        <p:spPr bwMode="auto">
          <a:xfrm>
            <a:off x="7527925" y="302895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09" name="Text Box 9"/>
          <p:cNvSpPr txBox="1">
            <a:spLocks noChangeArrowheads="1"/>
          </p:cNvSpPr>
          <p:nvPr/>
        </p:nvSpPr>
        <p:spPr bwMode="auto">
          <a:xfrm>
            <a:off x="7535863" y="41148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00</a:t>
            </a:r>
            <a:endParaRPr lang="en-US"/>
          </a:p>
        </p:txBody>
      </p:sp>
      <p:sp>
        <p:nvSpPr>
          <p:cNvPr id="25610" name="Text Box 10"/>
          <p:cNvSpPr txBox="1">
            <a:spLocks noChangeArrowheads="1"/>
          </p:cNvSpPr>
          <p:nvPr/>
        </p:nvSpPr>
        <p:spPr bwMode="auto">
          <a:xfrm>
            <a:off x="7543800" y="5083175"/>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680</a:t>
            </a:r>
            <a:endParaRPr lang="en-US"/>
          </a:p>
        </p:txBody>
      </p:sp>
      <p:sp>
        <p:nvSpPr>
          <p:cNvPr id="25611" name="Text Box 11"/>
          <p:cNvSpPr txBox="1">
            <a:spLocks noChangeArrowheads="1"/>
          </p:cNvSpPr>
          <p:nvPr/>
        </p:nvSpPr>
        <p:spPr bwMode="auto">
          <a:xfrm>
            <a:off x="7543800" y="22098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40</a:t>
            </a:r>
            <a:endParaRPr lang="en-US"/>
          </a:p>
        </p:txBody>
      </p:sp>
      <p:sp>
        <p:nvSpPr>
          <p:cNvPr id="25612" name="Line 12"/>
          <p:cNvSpPr>
            <a:spLocks noChangeShapeType="1"/>
          </p:cNvSpPr>
          <p:nvPr/>
        </p:nvSpPr>
        <p:spPr bwMode="auto">
          <a:xfrm flipH="1">
            <a:off x="7239000" y="2514600"/>
            <a:ext cx="228600" cy="0"/>
          </a:xfrm>
          <a:prstGeom prst="line">
            <a:avLst/>
          </a:prstGeom>
          <a:noFill/>
          <a:ln w="38100">
            <a:solidFill>
              <a:srgbClr val="993300"/>
            </a:solidFill>
            <a:round/>
            <a:headEnd/>
            <a:tailEnd/>
          </a:ln>
        </p:spPr>
        <p:txBody>
          <a:bodyPr wrap="none" anchor="ctr"/>
          <a:lstStyle/>
          <a:p>
            <a:endParaRPr lang="en-US"/>
          </a:p>
        </p:txBody>
      </p:sp>
      <p:sp>
        <p:nvSpPr>
          <p:cNvPr id="25613" name="Text Box 13"/>
          <p:cNvSpPr txBox="1">
            <a:spLocks noChangeArrowheads="1"/>
          </p:cNvSpPr>
          <p:nvPr/>
        </p:nvSpPr>
        <p:spPr bwMode="auto">
          <a:xfrm>
            <a:off x="56388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680</a:t>
            </a:r>
            <a:endParaRPr lang="en-US"/>
          </a:p>
        </p:txBody>
      </p:sp>
      <p:sp>
        <p:nvSpPr>
          <p:cNvPr id="25614" name="Text Box 14"/>
          <p:cNvSpPr txBox="1">
            <a:spLocks noChangeArrowheads="1"/>
          </p:cNvSpPr>
          <p:nvPr/>
        </p:nvSpPr>
        <p:spPr bwMode="auto">
          <a:xfrm>
            <a:off x="43434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00</a:t>
            </a:r>
            <a:endParaRPr lang="en-US"/>
          </a:p>
        </p:txBody>
      </p:sp>
      <p:sp>
        <p:nvSpPr>
          <p:cNvPr id="25615" name="Text Box 15"/>
          <p:cNvSpPr txBox="1">
            <a:spLocks noChangeArrowheads="1"/>
          </p:cNvSpPr>
          <p:nvPr/>
        </p:nvSpPr>
        <p:spPr bwMode="auto">
          <a:xfrm>
            <a:off x="35052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6" name="Text Box 16"/>
          <p:cNvSpPr txBox="1">
            <a:spLocks noChangeArrowheads="1"/>
          </p:cNvSpPr>
          <p:nvPr/>
        </p:nvSpPr>
        <p:spPr bwMode="auto">
          <a:xfrm>
            <a:off x="25908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40</a:t>
            </a:r>
            <a:endParaRPr lang="en-US"/>
          </a:p>
        </p:txBody>
      </p:sp>
      <p:sp>
        <p:nvSpPr>
          <p:cNvPr id="25617" name="Text Box 17"/>
          <p:cNvSpPr txBox="1">
            <a:spLocks noChangeArrowheads="1"/>
          </p:cNvSpPr>
          <p:nvPr/>
        </p:nvSpPr>
        <p:spPr bwMode="auto">
          <a:xfrm>
            <a:off x="4038600" y="1219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8" name="Text Box 18"/>
          <p:cNvSpPr txBox="1">
            <a:spLocks noChangeArrowheads="1"/>
          </p:cNvSpPr>
          <p:nvPr/>
        </p:nvSpPr>
        <p:spPr bwMode="auto">
          <a:xfrm>
            <a:off x="5105400" y="1219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9" name="Rectangle 19"/>
          <p:cNvSpPr>
            <a:spLocks noChangeArrowheads="1"/>
          </p:cNvSpPr>
          <p:nvPr/>
        </p:nvSpPr>
        <p:spPr bwMode="auto">
          <a:xfrm>
            <a:off x="1997075" y="1905000"/>
            <a:ext cx="5070475" cy="4216400"/>
          </a:xfrm>
          <a:prstGeom prst="rect">
            <a:avLst/>
          </a:prstGeom>
          <a:noFill/>
          <a:ln w="57150">
            <a:solidFill>
              <a:srgbClr val="FF00FF"/>
            </a:solidFill>
            <a:miter lim="800000"/>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5800" y="152400"/>
            <a:ext cx="8305800" cy="6858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eaLnBrk="1" hangingPunct="1"/>
            <a:r>
              <a:rPr lang="en-US" sz="3600" dirty="0" smtClean="0"/>
              <a:t>Digital Elevation Model (DEM)-30 meter</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838200"/>
            <a:ext cx="7251700" cy="344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22298" b="7780"/>
          <a:stretch/>
        </p:blipFill>
        <p:spPr bwMode="auto">
          <a:xfrm>
            <a:off x="76200" y="3424542"/>
            <a:ext cx="2743200" cy="3265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08021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457200" y="685800"/>
            <a:ext cx="7924800" cy="762000"/>
          </a:xfrm>
        </p:spPr>
        <p:txBody>
          <a:bodyPr/>
          <a:lstStyle/>
          <a:p>
            <a:pPr eaLnBrk="1" hangingPunct="1"/>
            <a:r>
              <a:rPr lang="en-US" smtClean="0"/>
              <a:t>Austin West 30 Meter DEM</a:t>
            </a:r>
          </a:p>
        </p:txBody>
      </p:sp>
      <p:pic>
        <p:nvPicPr>
          <p:cNvPr id="26627" name="Picture 3" descr="auswest"/>
          <p:cNvPicPr>
            <a:picLocks noChangeAspect="1" noChangeArrowheads="1"/>
          </p:cNvPicPr>
          <p:nvPr/>
        </p:nvPicPr>
        <p:blipFill>
          <a:blip r:embed="rId2" cstate="print"/>
          <a:srcRect/>
          <a:stretch>
            <a:fillRect/>
          </a:stretch>
        </p:blipFill>
        <p:spPr bwMode="auto">
          <a:xfrm>
            <a:off x="1676400" y="1600200"/>
            <a:ext cx="5715000" cy="4818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650" name="Group 2"/>
          <p:cNvGrpSpPr>
            <a:grpSpLocks/>
          </p:cNvGrpSpPr>
          <p:nvPr/>
        </p:nvGrpSpPr>
        <p:grpSpPr bwMode="auto">
          <a:xfrm>
            <a:off x="2514600" y="2162766"/>
            <a:ext cx="3497263" cy="3382963"/>
            <a:chOff x="2261" y="1517"/>
            <a:chExt cx="1149" cy="1094"/>
          </a:xfrm>
        </p:grpSpPr>
        <p:sp>
          <p:nvSpPr>
            <p:cNvPr id="27653" name="Rectangle 3"/>
            <p:cNvSpPr>
              <a:spLocks noChangeArrowheads="1"/>
            </p:cNvSpPr>
            <p:nvPr/>
          </p:nvSpPr>
          <p:spPr bwMode="auto">
            <a:xfrm>
              <a:off x="2261"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a:t>32</a:t>
              </a:r>
            </a:p>
          </p:txBody>
        </p:sp>
        <p:sp>
          <p:nvSpPr>
            <p:cNvPr id="27654" name="Rectangle 4"/>
            <p:cNvSpPr>
              <a:spLocks noChangeArrowheads="1"/>
            </p:cNvSpPr>
            <p:nvPr/>
          </p:nvSpPr>
          <p:spPr bwMode="auto">
            <a:xfrm>
              <a:off x="2261" y="1881"/>
              <a:ext cx="383" cy="366"/>
            </a:xfrm>
            <a:prstGeom prst="rect">
              <a:avLst/>
            </a:prstGeom>
            <a:noFill/>
            <a:ln w="38100">
              <a:solidFill>
                <a:srgbClr val="009900"/>
              </a:solidFill>
              <a:miter lim="800000"/>
              <a:headEnd/>
              <a:tailEnd/>
            </a:ln>
          </p:spPr>
          <p:txBody>
            <a:bodyPr wrap="none" anchor="ctr"/>
            <a:lstStyle/>
            <a:p>
              <a:pPr algn="ctr" eaLnBrk="0" hangingPunct="0"/>
              <a:r>
                <a:rPr lang="en-US" sz="2800" b="1"/>
                <a:t>16</a:t>
              </a:r>
            </a:p>
          </p:txBody>
        </p:sp>
        <p:sp>
          <p:nvSpPr>
            <p:cNvPr id="27655" name="Rectangle 5"/>
            <p:cNvSpPr>
              <a:spLocks noChangeArrowheads="1"/>
            </p:cNvSpPr>
            <p:nvPr/>
          </p:nvSpPr>
          <p:spPr bwMode="auto">
            <a:xfrm>
              <a:off x="2261"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8</a:t>
              </a:r>
            </a:p>
          </p:txBody>
        </p:sp>
        <p:sp>
          <p:nvSpPr>
            <p:cNvPr id="27656" name="Rectangle 6"/>
            <p:cNvSpPr>
              <a:spLocks noChangeArrowheads="1"/>
            </p:cNvSpPr>
            <p:nvPr/>
          </p:nvSpPr>
          <p:spPr bwMode="auto">
            <a:xfrm>
              <a:off x="2644"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a:t>64</a:t>
              </a:r>
            </a:p>
          </p:txBody>
        </p:sp>
        <p:sp>
          <p:nvSpPr>
            <p:cNvPr id="27657" name="Rectangle 7"/>
            <p:cNvSpPr>
              <a:spLocks noChangeArrowheads="1"/>
            </p:cNvSpPr>
            <p:nvPr/>
          </p:nvSpPr>
          <p:spPr bwMode="auto">
            <a:xfrm>
              <a:off x="2644" y="1881"/>
              <a:ext cx="383" cy="366"/>
            </a:xfrm>
            <a:prstGeom prst="rect">
              <a:avLst/>
            </a:prstGeom>
            <a:noFill/>
            <a:ln w="38100">
              <a:solidFill>
                <a:srgbClr val="009900"/>
              </a:solidFill>
              <a:miter lim="800000"/>
              <a:headEnd/>
              <a:tailEnd/>
            </a:ln>
          </p:spPr>
          <p:txBody>
            <a:bodyPr wrap="none" anchor="ctr"/>
            <a:lstStyle/>
            <a:p>
              <a:pPr algn="ctr" eaLnBrk="0" hangingPunct="0"/>
              <a:endParaRPr lang="en-US" sz="2800" b="1"/>
            </a:p>
          </p:txBody>
        </p:sp>
        <p:sp>
          <p:nvSpPr>
            <p:cNvPr id="27658" name="Rectangle 8"/>
            <p:cNvSpPr>
              <a:spLocks noChangeArrowheads="1"/>
            </p:cNvSpPr>
            <p:nvPr/>
          </p:nvSpPr>
          <p:spPr bwMode="auto">
            <a:xfrm>
              <a:off x="2644"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4</a:t>
              </a:r>
            </a:p>
          </p:txBody>
        </p:sp>
        <p:grpSp>
          <p:nvGrpSpPr>
            <p:cNvPr id="27659" name="Group 9"/>
            <p:cNvGrpSpPr>
              <a:grpSpLocks/>
            </p:cNvGrpSpPr>
            <p:nvPr/>
          </p:nvGrpSpPr>
          <p:grpSpPr bwMode="auto">
            <a:xfrm>
              <a:off x="3027" y="1517"/>
              <a:ext cx="383" cy="1094"/>
              <a:chOff x="3027" y="1517"/>
              <a:chExt cx="383" cy="1094"/>
            </a:xfrm>
          </p:grpSpPr>
          <p:sp>
            <p:nvSpPr>
              <p:cNvPr id="27668" name="Rectangle 10"/>
              <p:cNvSpPr>
                <a:spLocks noChangeArrowheads="1"/>
              </p:cNvSpPr>
              <p:nvPr/>
            </p:nvSpPr>
            <p:spPr bwMode="auto">
              <a:xfrm>
                <a:off x="3027"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dirty="0"/>
                  <a:t>128</a:t>
                </a:r>
              </a:p>
            </p:txBody>
          </p:sp>
          <p:sp>
            <p:nvSpPr>
              <p:cNvPr id="27669" name="Rectangle 11"/>
              <p:cNvSpPr>
                <a:spLocks noChangeArrowheads="1"/>
              </p:cNvSpPr>
              <p:nvPr/>
            </p:nvSpPr>
            <p:spPr bwMode="auto">
              <a:xfrm>
                <a:off x="3027" y="1881"/>
                <a:ext cx="383" cy="366"/>
              </a:xfrm>
              <a:prstGeom prst="rect">
                <a:avLst/>
              </a:prstGeom>
              <a:noFill/>
              <a:ln w="38100">
                <a:solidFill>
                  <a:srgbClr val="009900"/>
                </a:solidFill>
                <a:miter lim="800000"/>
                <a:headEnd/>
                <a:tailEnd/>
              </a:ln>
            </p:spPr>
            <p:txBody>
              <a:bodyPr wrap="none" anchor="ctr"/>
              <a:lstStyle/>
              <a:p>
                <a:pPr algn="ctr" eaLnBrk="0" hangingPunct="0"/>
                <a:r>
                  <a:rPr lang="en-US" sz="2800" b="1"/>
                  <a:t>1</a:t>
                </a:r>
              </a:p>
            </p:txBody>
          </p:sp>
          <p:sp>
            <p:nvSpPr>
              <p:cNvPr id="27670" name="Rectangle 12"/>
              <p:cNvSpPr>
                <a:spLocks noChangeArrowheads="1"/>
              </p:cNvSpPr>
              <p:nvPr/>
            </p:nvSpPr>
            <p:spPr bwMode="auto">
              <a:xfrm>
                <a:off x="3027"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2</a:t>
                </a:r>
              </a:p>
            </p:txBody>
          </p:sp>
        </p:grpSp>
        <p:sp>
          <p:nvSpPr>
            <p:cNvPr id="27660" name="Line 13"/>
            <p:cNvSpPr>
              <a:spLocks noChangeShapeType="1"/>
            </p:cNvSpPr>
            <p:nvPr/>
          </p:nvSpPr>
          <p:spPr bwMode="auto">
            <a:xfrm rot="-5400000">
              <a:off x="2746" y="1898"/>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1" name="Line 14"/>
            <p:cNvSpPr>
              <a:spLocks noChangeShapeType="1"/>
            </p:cNvSpPr>
            <p:nvPr/>
          </p:nvSpPr>
          <p:spPr bwMode="auto">
            <a:xfrm rot="5400000" flipV="1">
              <a:off x="2884" y="2108"/>
              <a:ext cx="194" cy="201"/>
            </a:xfrm>
            <a:prstGeom prst="line">
              <a:avLst/>
            </a:prstGeom>
            <a:noFill/>
            <a:ln w="28575">
              <a:solidFill>
                <a:schemeClr val="tx1"/>
              </a:solidFill>
              <a:round/>
              <a:headEnd/>
              <a:tailEnd type="triangle" w="med" len="med"/>
            </a:ln>
          </p:spPr>
          <p:txBody>
            <a:bodyPr wrap="none" anchor="ctr"/>
            <a:lstStyle/>
            <a:p>
              <a:endParaRPr lang="en-US"/>
            </a:p>
          </p:txBody>
        </p:sp>
        <p:sp>
          <p:nvSpPr>
            <p:cNvPr id="27662" name="Line 15"/>
            <p:cNvSpPr>
              <a:spLocks noChangeShapeType="1"/>
            </p:cNvSpPr>
            <p:nvPr/>
          </p:nvSpPr>
          <p:spPr bwMode="auto">
            <a:xfrm rot="-5400000">
              <a:off x="2881" y="1810"/>
              <a:ext cx="202" cy="202"/>
            </a:xfrm>
            <a:prstGeom prst="line">
              <a:avLst/>
            </a:prstGeom>
            <a:noFill/>
            <a:ln w="28575">
              <a:solidFill>
                <a:schemeClr val="tx1"/>
              </a:solidFill>
              <a:round/>
              <a:headEnd/>
              <a:tailEnd type="triangle" w="med" len="med"/>
            </a:ln>
          </p:spPr>
          <p:txBody>
            <a:bodyPr wrap="none" anchor="ctr"/>
            <a:lstStyle/>
            <a:p>
              <a:endParaRPr lang="en-US"/>
            </a:p>
          </p:txBody>
        </p:sp>
        <p:sp>
          <p:nvSpPr>
            <p:cNvPr id="27663" name="Line 16"/>
            <p:cNvSpPr>
              <a:spLocks noChangeShapeType="1"/>
            </p:cNvSpPr>
            <p:nvPr/>
          </p:nvSpPr>
          <p:spPr bwMode="auto">
            <a:xfrm rot="-5400000" flipH="1" flipV="1">
              <a:off x="2571" y="2101"/>
              <a:ext cx="210" cy="216"/>
            </a:xfrm>
            <a:prstGeom prst="line">
              <a:avLst/>
            </a:prstGeom>
            <a:noFill/>
            <a:ln w="28575">
              <a:solidFill>
                <a:schemeClr val="tx1"/>
              </a:solidFill>
              <a:round/>
              <a:headEnd/>
              <a:tailEnd type="triangle" w="med" len="med"/>
            </a:ln>
          </p:spPr>
          <p:txBody>
            <a:bodyPr wrap="none" anchor="ctr"/>
            <a:lstStyle/>
            <a:p>
              <a:endParaRPr lang="en-US"/>
            </a:p>
          </p:txBody>
        </p:sp>
        <p:sp>
          <p:nvSpPr>
            <p:cNvPr id="27664" name="Line 17"/>
            <p:cNvSpPr>
              <a:spLocks noChangeShapeType="1"/>
            </p:cNvSpPr>
            <p:nvPr/>
          </p:nvSpPr>
          <p:spPr bwMode="auto">
            <a:xfrm rot="5400000" flipV="1">
              <a:off x="2741" y="2220"/>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5" name="Line 18"/>
            <p:cNvSpPr>
              <a:spLocks noChangeShapeType="1"/>
            </p:cNvSpPr>
            <p:nvPr/>
          </p:nvSpPr>
          <p:spPr bwMode="auto">
            <a:xfrm rot="10800000">
              <a:off x="2561" y="2071"/>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6" name="Line 19"/>
            <p:cNvSpPr>
              <a:spLocks noChangeShapeType="1"/>
            </p:cNvSpPr>
            <p:nvPr/>
          </p:nvSpPr>
          <p:spPr bwMode="auto">
            <a:xfrm rot="10800000" flipH="1">
              <a:off x="2907" y="2065"/>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7" name="Line 20"/>
            <p:cNvSpPr>
              <a:spLocks noChangeShapeType="1"/>
            </p:cNvSpPr>
            <p:nvPr/>
          </p:nvSpPr>
          <p:spPr bwMode="auto">
            <a:xfrm rot="5400000" flipH="1">
              <a:off x="2570" y="1818"/>
              <a:ext cx="210" cy="209"/>
            </a:xfrm>
            <a:prstGeom prst="line">
              <a:avLst/>
            </a:prstGeom>
            <a:noFill/>
            <a:ln w="28575">
              <a:solidFill>
                <a:schemeClr val="tx1"/>
              </a:solidFill>
              <a:round/>
              <a:headEnd/>
              <a:tailEnd type="triangle" w="med" len="med"/>
            </a:ln>
          </p:spPr>
          <p:txBody>
            <a:bodyPr wrap="none" anchor="ctr"/>
            <a:lstStyle/>
            <a:p>
              <a:endParaRPr lang="en-US"/>
            </a:p>
          </p:txBody>
        </p:sp>
      </p:grpSp>
      <p:sp>
        <p:nvSpPr>
          <p:cNvPr id="27651" name="Text Box 21"/>
          <p:cNvSpPr txBox="1">
            <a:spLocks noChangeArrowheads="1"/>
          </p:cNvSpPr>
          <p:nvPr/>
        </p:nvSpPr>
        <p:spPr bwMode="auto">
          <a:xfrm>
            <a:off x="1295400" y="329625"/>
            <a:ext cx="5745484" cy="584775"/>
          </a:xfrm>
          <a:prstGeom prst="rect">
            <a:avLst/>
          </a:prstGeom>
          <a:noFill/>
          <a:ln w="9525">
            <a:noFill/>
            <a:miter lim="800000"/>
            <a:headEnd/>
            <a:tailEnd/>
          </a:ln>
        </p:spPr>
        <p:txBody>
          <a:bodyPr wrap="none">
            <a:spAutoFit/>
          </a:bodyPr>
          <a:lstStyle/>
          <a:p>
            <a:pPr eaLnBrk="0" hangingPunct="0"/>
            <a:r>
              <a:rPr lang="en-US" sz="3200" dirty="0">
                <a:solidFill>
                  <a:srgbClr val="FF3300"/>
                </a:solidFill>
              </a:rPr>
              <a:t>Eight Direction</a:t>
            </a:r>
            <a:r>
              <a:rPr lang="en-US" sz="3200" dirty="0"/>
              <a:t> Pour Point Model</a:t>
            </a:r>
          </a:p>
        </p:txBody>
      </p:sp>
      <p:sp>
        <p:nvSpPr>
          <p:cNvPr id="27652" name="Text Box 22"/>
          <p:cNvSpPr txBox="1">
            <a:spLocks noChangeArrowheads="1"/>
          </p:cNvSpPr>
          <p:nvPr/>
        </p:nvSpPr>
        <p:spPr bwMode="auto">
          <a:xfrm>
            <a:off x="597568" y="5791200"/>
            <a:ext cx="8153400" cy="830997"/>
          </a:xfrm>
          <a:prstGeom prst="rect">
            <a:avLst/>
          </a:prstGeom>
          <a:noFill/>
          <a:ln w="9525">
            <a:noFill/>
            <a:miter lim="800000"/>
            <a:headEnd/>
            <a:tailEnd/>
          </a:ln>
        </p:spPr>
        <p:txBody>
          <a:bodyPr wrap="square">
            <a:spAutoFit/>
          </a:bodyPr>
          <a:lstStyle/>
          <a:p>
            <a:pPr eaLnBrk="0" hangingPunct="0"/>
            <a:r>
              <a:rPr lang="en-US" dirty="0"/>
              <a:t>Water </a:t>
            </a:r>
            <a:r>
              <a:rPr lang="en-US" dirty="0" smtClean="0"/>
              <a:t>in a given cell flows one or more of eight adjacent cells in </a:t>
            </a:r>
            <a:r>
              <a:rPr lang="en-US" dirty="0"/>
              <a:t>the direction of </a:t>
            </a:r>
            <a:r>
              <a:rPr lang="en-US" dirty="0">
                <a:solidFill>
                  <a:srgbClr val="FF3300"/>
                </a:solidFill>
              </a:rPr>
              <a:t>steepest </a:t>
            </a:r>
            <a:r>
              <a:rPr lang="en-US" dirty="0" smtClean="0">
                <a:solidFill>
                  <a:srgbClr val="FF3300"/>
                </a:solidFill>
              </a:rPr>
              <a:t>descent (ArcGIS)</a:t>
            </a:r>
            <a:r>
              <a:rPr lang="en-US" dirty="0" smtClean="0"/>
              <a:t> </a:t>
            </a:r>
            <a:endParaRPr lang="en-US" dirty="0"/>
          </a:p>
        </p:txBody>
      </p:sp>
      <p:sp>
        <p:nvSpPr>
          <p:cNvPr id="23" name="Text Box 22"/>
          <p:cNvSpPr txBox="1">
            <a:spLocks noChangeArrowheads="1"/>
          </p:cNvSpPr>
          <p:nvPr/>
        </p:nvSpPr>
        <p:spPr bwMode="auto">
          <a:xfrm>
            <a:off x="479299" y="914400"/>
            <a:ext cx="8652669" cy="1200329"/>
          </a:xfrm>
          <a:prstGeom prst="rect">
            <a:avLst/>
          </a:prstGeom>
          <a:noFill/>
          <a:ln w="9525">
            <a:noFill/>
            <a:miter lim="800000"/>
            <a:headEnd/>
            <a:tailEnd/>
          </a:ln>
        </p:spPr>
        <p:txBody>
          <a:bodyPr wrap="square">
            <a:spAutoFit/>
          </a:bodyPr>
          <a:lstStyle/>
          <a:p>
            <a:pPr eaLnBrk="0" hangingPunct="0"/>
            <a:r>
              <a:rPr lang="en-US" dirty="0" smtClean="0"/>
              <a:t>ArcGIS raster operations involved in watershed delineation are derived from the premise that “water flows downhill, in doing so, will follow the </a:t>
            </a:r>
            <a:r>
              <a:rPr lang="en-US" dirty="0" smtClean="0">
                <a:solidFill>
                  <a:srgbClr val="FF3300"/>
                </a:solidFill>
              </a:rPr>
              <a:t>steepest descent</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685800" y="609600"/>
            <a:ext cx="7772400" cy="609600"/>
          </a:xfrm>
        </p:spPr>
        <p:txBody>
          <a:bodyPr/>
          <a:lstStyle/>
          <a:p>
            <a:pPr eaLnBrk="1" hangingPunct="1"/>
            <a:r>
              <a:rPr lang="en-US" smtClean="0"/>
              <a:t>Flow </a:t>
            </a:r>
            <a:r>
              <a:rPr lang="en-US" smtClean="0">
                <a:solidFill>
                  <a:schemeClr val="tx1"/>
                </a:solidFill>
              </a:rPr>
              <a:t>Direction</a:t>
            </a:r>
            <a:r>
              <a:rPr lang="en-US" smtClean="0"/>
              <a:t> Grid</a:t>
            </a:r>
          </a:p>
        </p:txBody>
      </p:sp>
      <p:pic>
        <p:nvPicPr>
          <p:cNvPr id="28675" name="Picture 3" descr="fdr"/>
          <p:cNvPicPr>
            <a:picLocks noChangeAspect="1" noChangeArrowheads="1"/>
          </p:cNvPicPr>
          <p:nvPr/>
        </p:nvPicPr>
        <p:blipFill>
          <a:blip r:embed="rId2" cstate="print"/>
          <a:srcRect/>
          <a:stretch>
            <a:fillRect/>
          </a:stretch>
        </p:blipFill>
        <p:spPr bwMode="auto">
          <a:xfrm>
            <a:off x="2209800" y="1219200"/>
            <a:ext cx="6477000" cy="5461000"/>
          </a:xfrm>
          <a:prstGeom prst="rect">
            <a:avLst/>
          </a:prstGeom>
          <a:noFill/>
          <a:ln w="9525">
            <a:noFill/>
            <a:miter lim="800000"/>
            <a:headEnd/>
            <a:tailEnd/>
          </a:ln>
        </p:spPr>
      </p:pic>
      <p:grpSp>
        <p:nvGrpSpPr>
          <p:cNvPr id="28676" name="Group 4"/>
          <p:cNvGrpSpPr>
            <a:grpSpLocks/>
          </p:cNvGrpSpPr>
          <p:nvPr/>
        </p:nvGrpSpPr>
        <p:grpSpPr bwMode="auto">
          <a:xfrm>
            <a:off x="457200" y="3276600"/>
            <a:ext cx="1524000" cy="1600200"/>
            <a:chOff x="2261" y="1517"/>
            <a:chExt cx="1149" cy="1094"/>
          </a:xfrm>
        </p:grpSpPr>
        <p:sp>
          <p:nvSpPr>
            <p:cNvPr id="28677" name="Rectangle 5"/>
            <p:cNvSpPr>
              <a:spLocks noChangeArrowheads="1"/>
            </p:cNvSpPr>
            <p:nvPr/>
          </p:nvSpPr>
          <p:spPr bwMode="auto">
            <a:xfrm>
              <a:off x="2261"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32</a:t>
              </a:r>
            </a:p>
          </p:txBody>
        </p:sp>
        <p:sp>
          <p:nvSpPr>
            <p:cNvPr id="28678" name="Rectangle 6"/>
            <p:cNvSpPr>
              <a:spLocks noChangeArrowheads="1"/>
            </p:cNvSpPr>
            <p:nvPr/>
          </p:nvSpPr>
          <p:spPr bwMode="auto">
            <a:xfrm>
              <a:off x="2261" y="1881"/>
              <a:ext cx="383" cy="366"/>
            </a:xfrm>
            <a:prstGeom prst="rect">
              <a:avLst/>
            </a:prstGeom>
            <a:noFill/>
            <a:ln w="38100">
              <a:solidFill>
                <a:srgbClr val="009900"/>
              </a:solidFill>
              <a:miter lim="800000"/>
              <a:headEnd/>
              <a:tailEnd/>
            </a:ln>
          </p:spPr>
          <p:txBody>
            <a:bodyPr wrap="none" anchor="ctr"/>
            <a:lstStyle/>
            <a:p>
              <a:pPr algn="ctr" eaLnBrk="0" hangingPunct="0"/>
              <a:r>
                <a:rPr lang="en-US" sz="2000" b="1"/>
                <a:t>16</a:t>
              </a:r>
            </a:p>
          </p:txBody>
        </p:sp>
        <p:sp>
          <p:nvSpPr>
            <p:cNvPr id="28679" name="Rectangle 7"/>
            <p:cNvSpPr>
              <a:spLocks noChangeArrowheads="1"/>
            </p:cNvSpPr>
            <p:nvPr/>
          </p:nvSpPr>
          <p:spPr bwMode="auto">
            <a:xfrm>
              <a:off x="2261"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8</a:t>
              </a:r>
            </a:p>
          </p:txBody>
        </p:sp>
        <p:sp>
          <p:nvSpPr>
            <p:cNvPr id="28680" name="Rectangle 8"/>
            <p:cNvSpPr>
              <a:spLocks noChangeArrowheads="1"/>
            </p:cNvSpPr>
            <p:nvPr/>
          </p:nvSpPr>
          <p:spPr bwMode="auto">
            <a:xfrm>
              <a:off x="2644"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64</a:t>
              </a:r>
            </a:p>
          </p:txBody>
        </p:sp>
        <p:sp>
          <p:nvSpPr>
            <p:cNvPr id="28681" name="Rectangle 9"/>
            <p:cNvSpPr>
              <a:spLocks noChangeArrowheads="1"/>
            </p:cNvSpPr>
            <p:nvPr/>
          </p:nvSpPr>
          <p:spPr bwMode="auto">
            <a:xfrm>
              <a:off x="2644" y="1881"/>
              <a:ext cx="383" cy="366"/>
            </a:xfrm>
            <a:prstGeom prst="rect">
              <a:avLst/>
            </a:prstGeom>
            <a:noFill/>
            <a:ln w="38100">
              <a:solidFill>
                <a:srgbClr val="009900"/>
              </a:solidFill>
              <a:miter lim="800000"/>
              <a:headEnd/>
              <a:tailEnd/>
            </a:ln>
          </p:spPr>
          <p:txBody>
            <a:bodyPr wrap="none" anchor="ctr"/>
            <a:lstStyle/>
            <a:p>
              <a:pPr algn="ctr" eaLnBrk="0" hangingPunct="0"/>
              <a:endParaRPr lang="en-US" sz="2000" b="1"/>
            </a:p>
          </p:txBody>
        </p:sp>
        <p:sp>
          <p:nvSpPr>
            <p:cNvPr id="28682" name="Rectangle 10"/>
            <p:cNvSpPr>
              <a:spLocks noChangeArrowheads="1"/>
            </p:cNvSpPr>
            <p:nvPr/>
          </p:nvSpPr>
          <p:spPr bwMode="auto">
            <a:xfrm>
              <a:off x="2644"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4</a:t>
              </a:r>
            </a:p>
          </p:txBody>
        </p:sp>
        <p:grpSp>
          <p:nvGrpSpPr>
            <p:cNvPr id="28683" name="Group 11"/>
            <p:cNvGrpSpPr>
              <a:grpSpLocks/>
            </p:cNvGrpSpPr>
            <p:nvPr/>
          </p:nvGrpSpPr>
          <p:grpSpPr bwMode="auto">
            <a:xfrm>
              <a:off x="3027" y="1517"/>
              <a:ext cx="383" cy="1094"/>
              <a:chOff x="3027" y="1517"/>
              <a:chExt cx="383" cy="1094"/>
            </a:xfrm>
          </p:grpSpPr>
          <p:sp>
            <p:nvSpPr>
              <p:cNvPr id="28692" name="Rectangle 12"/>
              <p:cNvSpPr>
                <a:spLocks noChangeArrowheads="1"/>
              </p:cNvSpPr>
              <p:nvPr/>
            </p:nvSpPr>
            <p:spPr bwMode="auto">
              <a:xfrm>
                <a:off x="3027"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128</a:t>
                </a:r>
              </a:p>
            </p:txBody>
          </p:sp>
          <p:sp>
            <p:nvSpPr>
              <p:cNvPr id="28693" name="Rectangle 13"/>
              <p:cNvSpPr>
                <a:spLocks noChangeArrowheads="1"/>
              </p:cNvSpPr>
              <p:nvPr/>
            </p:nvSpPr>
            <p:spPr bwMode="auto">
              <a:xfrm>
                <a:off x="3027" y="1881"/>
                <a:ext cx="383" cy="366"/>
              </a:xfrm>
              <a:prstGeom prst="rect">
                <a:avLst/>
              </a:prstGeom>
              <a:noFill/>
              <a:ln w="38100">
                <a:solidFill>
                  <a:srgbClr val="009900"/>
                </a:solidFill>
                <a:miter lim="800000"/>
                <a:headEnd/>
                <a:tailEnd/>
              </a:ln>
            </p:spPr>
            <p:txBody>
              <a:bodyPr wrap="none" anchor="ctr"/>
              <a:lstStyle/>
              <a:p>
                <a:pPr algn="ctr" eaLnBrk="0" hangingPunct="0"/>
                <a:r>
                  <a:rPr lang="en-US" sz="2000" b="1"/>
                  <a:t>1</a:t>
                </a:r>
              </a:p>
            </p:txBody>
          </p:sp>
          <p:sp>
            <p:nvSpPr>
              <p:cNvPr id="28694" name="Rectangle 14"/>
              <p:cNvSpPr>
                <a:spLocks noChangeArrowheads="1"/>
              </p:cNvSpPr>
              <p:nvPr/>
            </p:nvSpPr>
            <p:spPr bwMode="auto">
              <a:xfrm>
                <a:off x="3027"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2</a:t>
                </a:r>
              </a:p>
            </p:txBody>
          </p:sp>
        </p:grpSp>
        <p:sp>
          <p:nvSpPr>
            <p:cNvPr id="28684" name="Line 15"/>
            <p:cNvSpPr>
              <a:spLocks noChangeShapeType="1"/>
            </p:cNvSpPr>
            <p:nvPr/>
          </p:nvSpPr>
          <p:spPr bwMode="auto">
            <a:xfrm rot="-5400000">
              <a:off x="2746" y="1898"/>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85" name="Line 16"/>
            <p:cNvSpPr>
              <a:spLocks noChangeShapeType="1"/>
            </p:cNvSpPr>
            <p:nvPr/>
          </p:nvSpPr>
          <p:spPr bwMode="auto">
            <a:xfrm rot="5400000" flipV="1">
              <a:off x="2884" y="2108"/>
              <a:ext cx="194" cy="201"/>
            </a:xfrm>
            <a:prstGeom prst="line">
              <a:avLst/>
            </a:prstGeom>
            <a:noFill/>
            <a:ln w="28575">
              <a:solidFill>
                <a:schemeClr val="tx1"/>
              </a:solidFill>
              <a:round/>
              <a:headEnd/>
              <a:tailEnd type="triangle" w="med" len="med"/>
            </a:ln>
          </p:spPr>
          <p:txBody>
            <a:bodyPr wrap="none" anchor="ctr"/>
            <a:lstStyle/>
            <a:p>
              <a:endParaRPr lang="en-US"/>
            </a:p>
          </p:txBody>
        </p:sp>
        <p:sp>
          <p:nvSpPr>
            <p:cNvPr id="28686" name="Line 17"/>
            <p:cNvSpPr>
              <a:spLocks noChangeShapeType="1"/>
            </p:cNvSpPr>
            <p:nvPr/>
          </p:nvSpPr>
          <p:spPr bwMode="auto">
            <a:xfrm rot="-5400000">
              <a:off x="2881" y="1810"/>
              <a:ext cx="202" cy="202"/>
            </a:xfrm>
            <a:prstGeom prst="line">
              <a:avLst/>
            </a:prstGeom>
            <a:noFill/>
            <a:ln w="28575">
              <a:solidFill>
                <a:schemeClr val="tx1"/>
              </a:solidFill>
              <a:round/>
              <a:headEnd/>
              <a:tailEnd type="triangle" w="med" len="med"/>
            </a:ln>
          </p:spPr>
          <p:txBody>
            <a:bodyPr wrap="none" anchor="ctr"/>
            <a:lstStyle/>
            <a:p>
              <a:endParaRPr lang="en-US"/>
            </a:p>
          </p:txBody>
        </p:sp>
        <p:sp>
          <p:nvSpPr>
            <p:cNvPr id="28687" name="Line 18"/>
            <p:cNvSpPr>
              <a:spLocks noChangeShapeType="1"/>
            </p:cNvSpPr>
            <p:nvPr/>
          </p:nvSpPr>
          <p:spPr bwMode="auto">
            <a:xfrm rot="-5400000" flipH="1" flipV="1">
              <a:off x="2571" y="2101"/>
              <a:ext cx="210" cy="216"/>
            </a:xfrm>
            <a:prstGeom prst="line">
              <a:avLst/>
            </a:prstGeom>
            <a:noFill/>
            <a:ln w="28575">
              <a:solidFill>
                <a:schemeClr val="tx1"/>
              </a:solidFill>
              <a:round/>
              <a:headEnd/>
              <a:tailEnd type="triangle" w="med" len="med"/>
            </a:ln>
          </p:spPr>
          <p:txBody>
            <a:bodyPr wrap="none" anchor="ctr"/>
            <a:lstStyle/>
            <a:p>
              <a:endParaRPr lang="en-US"/>
            </a:p>
          </p:txBody>
        </p:sp>
        <p:sp>
          <p:nvSpPr>
            <p:cNvPr id="28688" name="Line 19"/>
            <p:cNvSpPr>
              <a:spLocks noChangeShapeType="1"/>
            </p:cNvSpPr>
            <p:nvPr/>
          </p:nvSpPr>
          <p:spPr bwMode="auto">
            <a:xfrm rot="5400000" flipV="1">
              <a:off x="2741" y="2220"/>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89" name="Line 20"/>
            <p:cNvSpPr>
              <a:spLocks noChangeShapeType="1"/>
            </p:cNvSpPr>
            <p:nvPr/>
          </p:nvSpPr>
          <p:spPr bwMode="auto">
            <a:xfrm rot="10800000">
              <a:off x="2561" y="2071"/>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90" name="Line 21"/>
            <p:cNvSpPr>
              <a:spLocks noChangeShapeType="1"/>
            </p:cNvSpPr>
            <p:nvPr/>
          </p:nvSpPr>
          <p:spPr bwMode="auto">
            <a:xfrm rot="10800000" flipH="1">
              <a:off x="2907" y="2065"/>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91" name="Line 22"/>
            <p:cNvSpPr>
              <a:spLocks noChangeShapeType="1"/>
            </p:cNvSpPr>
            <p:nvPr/>
          </p:nvSpPr>
          <p:spPr bwMode="auto">
            <a:xfrm rot="5400000" flipH="1">
              <a:off x="2570" y="1818"/>
              <a:ext cx="210" cy="209"/>
            </a:xfrm>
            <a:prstGeom prst="line">
              <a:avLst/>
            </a:prstGeom>
            <a:noFill/>
            <a:ln w="28575">
              <a:solidFill>
                <a:schemeClr val="tx1"/>
              </a:solidFill>
              <a:round/>
              <a:headEnd/>
              <a:tailEnd type="triangle" w="med" len="med"/>
            </a:ln>
          </p:spPr>
          <p:txBody>
            <a:bodyPr wrap="none" anchor="ctr"/>
            <a:lstStyle/>
            <a:p>
              <a:endParaRPr lang="en-US"/>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US" smtClean="0">
                <a:solidFill>
                  <a:schemeClr val="tx1"/>
                </a:solidFill>
              </a:rPr>
              <a:t>Delineation of</a:t>
            </a:r>
            <a:r>
              <a:rPr lang="en-US" smtClean="0">
                <a:solidFill>
                  <a:srgbClr val="FF3300"/>
                </a:solidFill>
              </a:rPr>
              <a:t> </a:t>
            </a:r>
            <a:r>
              <a:rPr lang="en-US" smtClean="0">
                <a:solidFill>
                  <a:srgbClr val="66CCFF"/>
                </a:solidFill>
              </a:rPr>
              <a:t>Streams</a:t>
            </a:r>
            <a:r>
              <a:rPr lang="en-US" smtClean="0"/>
              <a:t> and </a:t>
            </a:r>
            <a:r>
              <a:rPr lang="en-US" smtClean="0">
                <a:solidFill>
                  <a:srgbClr val="FF3300"/>
                </a:solidFill>
              </a:rPr>
              <a:t>Watersheds</a:t>
            </a:r>
            <a:r>
              <a:rPr lang="en-US" smtClean="0"/>
              <a:t> on a DEM </a:t>
            </a:r>
          </a:p>
        </p:txBody>
      </p:sp>
      <p:pic>
        <p:nvPicPr>
          <p:cNvPr id="29699" name="Picture 3" descr="stream200"/>
          <p:cNvPicPr>
            <a:picLocks noChangeAspect="1" noChangeArrowheads="1"/>
          </p:cNvPicPr>
          <p:nvPr/>
        </p:nvPicPr>
        <p:blipFill>
          <a:blip r:embed="rId2" cstate="print"/>
          <a:srcRect/>
          <a:stretch>
            <a:fillRect/>
          </a:stretch>
        </p:blipFill>
        <p:spPr bwMode="auto">
          <a:xfrm>
            <a:off x="1371600" y="1905000"/>
            <a:ext cx="6486525" cy="4549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0"/>
            <a:ext cx="7772400" cy="1143000"/>
          </a:xfrm>
        </p:spPr>
        <p:txBody>
          <a:bodyPr/>
          <a:lstStyle/>
          <a:p>
            <a:r>
              <a:rPr lang="en-US" sz="3600" dirty="0" smtClean="0">
                <a:solidFill>
                  <a:schemeClr val="accent6"/>
                </a:solidFill>
              </a:rPr>
              <a:t>Outline</a:t>
            </a:r>
            <a:endParaRPr lang="en-US" sz="3600" dirty="0">
              <a:solidFill>
                <a:schemeClr val="accent6"/>
              </a:solidFill>
            </a:endParaRPr>
          </a:p>
        </p:txBody>
      </p:sp>
      <p:sp>
        <p:nvSpPr>
          <p:cNvPr id="3" name="Content Placeholder 2"/>
          <p:cNvSpPr>
            <a:spLocks noGrp="1"/>
          </p:cNvSpPr>
          <p:nvPr>
            <p:ph idx="1"/>
          </p:nvPr>
        </p:nvSpPr>
        <p:spPr>
          <a:xfrm>
            <a:off x="685800" y="990600"/>
            <a:ext cx="7772400" cy="5638800"/>
          </a:xfrm>
        </p:spPr>
        <p:txBody>
          <a:bodyPr/>
          <a:lstStyle/>
          <a:p>
            <a:r>
              <a:rPr lang="en-US" dirty="0"/>
              <a:t>The hierarchical system of watersheds and basins </a:t>
            </a:r>
          </a:p>
          <a:p>
            <a:r>
              <a:rPr lang="en-US" dirty="0" smtClean="0"/>
              <a:t>Where </a:t>
            </a:r>
            <a:r>
              <a:rPr lang="en-US" dirty="0"/>
              <a:t>to obtain </a:t>
            </a:r>
            <a:r>
              <a:rPr lang="en-US" dirty="0" smtClean="0"/>
              <a:t>data and maps</a:t>
            </a:r>
          </a:p>
          <a:p>
            <a:pPr marL="342900" lvl="1" indent="-342900">
              <a:buFontTx/>
              <a:buChar char="•"/>
            </a:pPr>
            <a:r>
              <a:rPr lang="en-US" dirty="0" smtClean="0"/>
              <a:t>National/State/Global Data repositories</a:t>
            </a:r>
          </a:p>
          <a:p>
            <a:pPr lvl="1"/>
            <a:r>
              <a:rPr lang="en-US" sz="2400" dirty="0" smtClean="0"/>
              <a:t>Hydrography</a:t>
            </a:r>
            <a:endParaRPr lang="en-US" sz="2400" dirty="0"/>
          </a:p>
          <a:p>
            <a:pPr lvl="1"/>
            <a:r>
              <a:rPr lang="en-US" sz="2400" dirty="0"/>
              <a:t>USGS National Water Information System</a:t>
            </a:r>
          </a:p>
          <a:p>
            <a:pPr lvl="1"/>
            <a:r>
              <a:rPr lang="en-US" sz="2400" dirty="0" smtClean="0"/>
              <a:t>Land </a:t>
            </a:r>
            <a:r>
              <a:rPr lang="en-US" sz="2400" dirty="0"/>
              <a:t>Cover</a:t>
            </a:r>
          </a:p>
          <a:p>
            <a:pPr lvl="1"/>
            <a:r>
              <a:rPr lang="en-US" sz="2400" dirty="0"/>
              <a:t>Elevation</a:t>
            </a:r>
          </a:p>
          <a:p>
            <a:pPr lvl="1"/>
            <a:r>
              <a:rPr lang="en-US" sz="2400" dirty="0" smtClean="0"/>
              <a:t>Soil (</a:t>
            </a:r>
            <a:r>
              <a:rPr lang="en-US" sz="2400" dirty="0" err="1" smtClean="0"/>
              <a:t>Statsgo</a:t>
            </a:r>
            <a:r>
              <a:rPr lang="en-US" sz="2400" dirty="0" smtClean="0"/>
              <a:t>/</a:t>
            </a:r>
            <a:r>
              <a:rPr lang="en-US" sz="2400" dirty="0" err="1" smtClean="0"/>
              <a:t>Surgo</a:t>
            </a:r>
            <a:r>
              <a:rPr lang="en-US" sz="2400" dirty="0" smtClean="0"/>
              <a:t>)</a:t>
            </a:r>
          </a:p>
          <a:p>
            <a:pPr lvl="1"/>
            <a:r>
              <a:rPr lang="en-US" sz="2400" dirty="0" smtClean="0"/>
              <a:t>Weather</a:t>
            </a:r>
          </a:p>
          <a:p>
            <a:r>
              <a:rPr lang="en-US" dirty="0" smtClean="0"/>
              <a:t>Ideas for term projects</a:t>
            </a:r>
            <a:endParaRPr lang="en-US" dirty="0"/>
          </a:p>
          <a:p>
            <a:endParaRPr lang="en-US" dirty="0" smtClean="0"/>
          </a:p>
          <a:p>
            <a:pPr lvl="1"/>
            <a:endParaRPr lang="en-US" dirty="0" smtClean="0"/>
          </a:p>
          <a:p>
            <a:endParaRPr lang="en-US" dirty="0"/>
          </a:p>
        </p:txBody>
      </p:sp>
    </p:spTree>
    <p:extLst>
      <p:ext uri="{BB962C8B-B14F-4D97-AF65-F5344CB8AC3E}">
        <p14:creationId xmlns:p14="http://schemas.microsoft.com/office/powerpoint/2010/main" val="36148263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
          <p:cNvGraphicFramePr>
            <a:graphicFrameLocks noGrp="1" noChangeAspect="1"/>
          </p:cNvGraphicFramePr>
          <p:nvPr>
            <p:ph idx="1"/>
          </p:nvPr>
        </p:nvGraphicFramePr>
        <p:xfrm>
          <a:off x="685800" y="0"/>
          <a:ext cx="7848600" cy="6526213"/>
        </p:xfrm>
        <a:graphic>
          <a:graphicData uri="http://schemas.openxmlformats.org/presentationml/2006/ole">
            <mc:AlternateContent xmlns:mc="http://schemas.openxmlformats.org/markup-compatibility/2006">
              <mc:Choice xmlns:v="urn:schemas-microsoft-com:vml" Requires="v">
                <p:oleObj spid="_x0000_s3154" name="Bitmap Image" r:id="rId3" imgW="5990476" imgH="4982270" progId="Paint.Picture">
                  <p:embed/>
                </p:oleObj>
              </mc:Choice>
              <mc:Fallback>
                <p:oleObj name="Bitmap Image" r:id="rId3" imgW="5990476" imgH="4982270" progId="Paint.Picture">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0"/>
                        <a:ext cx="7848600" cy="652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5" name="Rectangle 7"/>
          <p:cNvSpPr>
            <a:spLocks noChangeArrowheads="1"/>
          </p:cNvSpPr>
          <p:nvPr/>
        </p:nvSpPr>
        <p:spPr bwMode="auto">
          <a:xfrm>
            <a:off x="1905000" y="1524000"/>
            <a:ext cx="2763838" cy="457200"/>
          </a:xfrm>
          <a:prstGeom prst="rect">
            <a:avLst/>
          </a:prstGeom>
          <a:solidFill>
            <a:schemeClr val="bg1"/>
          </a:solidFill>
          <a:ln w="9525">
            <a:noFill/>
            <a:miter lim="800000"/>
            <a:headEnd/>
            <a:tailEnd/>
          </a:ln>
        </p:spPr>
        <p:txBody>
          <a:bodyPr wrap="none" anchor="ctr">
            <a:spAutoFit/>
          </a:bodyPr>
          <a:lstStyle/>
          <a:p>
            <a:r>
              <a:rPr lang="en-US" dirty="0"/>
              <a:t>http://srtm.usgs.gov/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ydroSheds</a:t>
            </a:r>
            <a:r>
              <a:rPr lang="en-US" dirty="0" smtClean="0"/>
              <a:t> derived from SRTM</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147520" y="1981200"/>
            <a:ext cx="8996480" cy="3733800"/>
          </a:xfrm>
          <a:prstGeom prst="rect">
            <a:avLst/>
          </a:prstGeom>
          <a:noFill/>
          <a:ln w="9525">
            <a:noFill/>
            <a:miter lim="800000"/>
            <a:headEnd/>
            <a:tailEnd/>
          </a:ln>
        </p:spPr>
      </p:pic>
      <p:sp>
        <p:nvSpPr>
          <p:cNvPr id="4" name="Rectangle 3"/>
          <p:cNvSpPr/>
          <p:nvPr/>
        </p:nvSpPr>
        <p:spPr>
          <a:xfrm>
            <a:off x="2667000" y="5867400"/>
            <a:ext cx="4010393" cy="461665"/>
          </a:xfrm>
          <a:prstGeom prst="rect">
            <a:avLst/>
          </a:prstGeom>
        </p:spPr>
        <p:txBody>
          <a:bodyPr wrap="none">
            <a:spAutoFit/>
          </a:bodyPr>
          <a:lstStyle/>
          <a:p>
            <a:r>
              <a:rPr lang="en-US" i="1" dirty="0" smtClean="0">
                <a:hlinkClick r:id="rId3"/>
              </a:rPr>
              <a:t>http://hydrosheds.cr.usgs.gov/</a:t>
            </a:r>
            <a:r>
              <a:rPr lang="en-US" i="1" dirty="0" smtClean="0"/>
              <a:t>  </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1371600" y="190370"/>
            <a:ext cx="6477000" cy="65543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smtClean="0">
                <a:solidFill>
                  <a:srgbClr val="FF3300"/>
                </a:solidFill>
              </a:rPr>
              <a:t>GTOPO30</a:t>
            </a:r>
            <a:r>
              <a:rPr lang="en-US" smtClean="0"/>
              <a:t> - 1 km Digital Elevation Model of the Earth</a:t>
            </a:r>
          </a:p>
        </p:txBody>
      </p:sp>
      <p:pic>
        <p:nvPicPr>
          <p:cNvPr id="45059" name="Picture 3" descr="gtopo30"/>
          <p:cNvPicPr>
            <a:picLocks noChangeAspect="1" noChangeArrowheads="1"/>
          </p:cNvPicPr>
          <p:nvPr/>
        </p:nvPicPr>
        <p:blipFill>
          <a:blip r:embed="rId2" cstate="print"/>
          <a:srcRect/>
          <a:stretch>
            <a:fillRect/>
          </a:stretch>
        </p:blipFill>
        <p:spPr bwMode="auto">
          <a:xfrm>
            <a:off x="609600" y="2057400"/>
            <a:ext cx="7848600" cy="4170363"/>
          </a:xfrm>
          <a:prstGeom prst="rect">
            <a:avLst/>
          </a:prstGeom>
          <a:noFill/>
          <a:ln w="9525">
            <a:noFill/>
            <a:miter lim="800000"/>
            <a:headEnd/>
            <a:tailEnd/>
          </a:ln>
        </p:spPr>
      </p:pic>
      <p:sp>
        <p:nvSpPr>
          <p:cNvPr id="45060" name="Rectangle 4"/>
          <p:cNvSpPr>
            <a:spLocks noChangeArrowheads="1"/>
          </p:cNvSpPr>
          <p:nvPr/>
        </p:nvSpPr>
        <p:spPr bwMode="auto">
          <a:xfrm>
            <a:off x="762000" y="6096000"/>
            <a:ext cx="7848600" cy="400110"/>
          </a:xfrm>
          <a:prstGeom prst="rect">
            <a:avLst/>
          </a:prstGeom>
          <a:noFill/>
          <a:ln w="9525">
            <a:noFill/>
            <a:miter lim="800000"/>
            <a:headEnd/>
            <a:tailEnd/>
          </a:ln>
        </p:spPr>
        <p:txBody>
          <a:bodyPr wrap="square">
            <a:spAutoFit/>
          </a:bodyPr>
          <a:lstStyle/>
          <a:p>
            <a:pPr algn="ctr"/>
            <a:r>
              <a:rPr lang="en-US" sz="2000" u="sng" dirty="0">
                <a:hlinkClick r:id="rId3"/>
              </a:rPr>
              <a:t>https://lta.cr.usgs.gov/GTOPO30</a:t>
            </a:r>
            <a:r>
              <a:rPr lang="en-US" sz="2000" dirty="0"/>
              <a:t>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eaLnBrk="1" hangingPunct="1"/>
            <a:r>
              <a:rPr lang="en-US" smtClean="0">
                <a:solidFill>
                  <a:srgbClr val="FF3300"/>
                </a:solidFill>
              </a:rPr>
              <a:t>Drainage</a:t>
            </a:r>
            <a:r>
              <a:rPr lang="en-US" smtClean="0"/>
              <a:t> in North America</a:t>
            </a:r>
          </a:p>
        </p:txBody>
      </p:sp>
      <p:pic>
        <p:nvPicPr>
          <p:cNvPr id="46083" name="Picture 3" descr="nastream"/>
          <p:cNvPicPr>
            <a:picLocks noChangeAspect="1" noChangeArrowheads="1"/>
          </p:cNvPicPr>
          <p:nvPr/>
        </p:nvPicPr>
        <p:blipFill>
          <a:blip r:embed="rId2" cstate="print"/>
          <a:srcRect/>
          <a:stretch>
            <a:fillRect/>
          </a:stretch>
        </p:blipFill>
        <p:spPr bwMode="auto">
          <a:xfrm>
            <a:off x="2286000" y="1524000"/>
            <a:ext cx="4375150" cy="4445000"/>
          </a:xfrm>
          <a:prstGeom prst="rect">
            <a:avLst/>
          </a:prstGeom>
          <a:noFill/>
          <a:ln w="9525">
            <a:noFill/>
            <a:miter lim="800000"/>
            <a:headEnd/>
            <a:tailEnd/>
          </a:ln>
        </p:spPr>
      </p:pic>
      <p:sp>
        <p:nvSpPr>
          <p:cNvPr id="46084" name="Text Box 5"/>
          <p:cNvSpPr txBox="1">
            <a:spLocks noChangeArrowheads="1"/>
          </p:cNvSpPr>
          <p:nvPr/>
        </p:nvSpPr>
        <p:spPr bwMode="auto">
          <a:xfrm>
            <a:off x="6384925" y="2098675"/>
            <a:ext cx="1766888" cy="1917700"/>
          </a:xfrm>
          <a:prstGeom prst="rect">
            <a:avLst/>
          </a:prstGeom>
          <a:noFill/>
          <a:ln w="9525">
            <a:noFill/>
            <a:miter lim="800000"/>
            <a:headEnd/>
            <a:tailEnd/>
          </a:ln>
        </p:spPr>
        <p:txBody>
          <a:bodyPr wrap="none">
            <a:spAutoFit/>
          </a:bodyPr>
          <a:lstStyle/>
          <a:p>
            <a:r>
              <a:rPr lang="en-US"/>
              <a:t>Hydro1K is</a:t>
            </a:r>
          </a:p>
          <a:p>
            <a:r>
              <a:rPr lang="en-US"/>
              <a:t>derived from</a:t>
            </a:r>
          </a:p>
          <a:p>
            <a:r>
              <a:rPr lang="en-US"/>
              <a:t>GTOPO30</a:t>
            </a:r>
          </a:p>
          <a:p>
            <a:r>
              <a:rPr lang="en-US"/>
              <a:t>using raster </a:t>
            </a:r>
          </a:p>
          <a:p>
            <a:r>
              <a:rPr lang="en-US"/>
              <a:t>GIS analysis</a:t>
            </a:r>
          </a:p>
        </p:txBody>
      </p:sp>
      <p:sp>
        <p:nvSpPr>
          <p:cNvPr id="46085" name="Rectangle 5"/>
          <p:cNvSpPr>
            <a:spLocks noChangeArrowheads="1"/>
          </p:cNvSpPr>
          <p:nvPr/>
        </p:nvSpPr>
        <p:spPr bwMode="auto">
          <a:xfrm>
            <a:off x="533400" y="6019800"/>
            <a:ext cx="8382000" cy="400110"/>
          </a:xfrm>
          <a:prstGeom prst="rect">
            <a:avLst/>
          </a:prstGeom>
          <a:noFill/>
          <a:ln w="9525">
            <a:noFill/>
            <a:miter lim="800000"/>
            <a:headEnd/>
            <a:tailEnd/>
          </a:ln>
        </p:spPr>
        <p:txBody>
          <a:bodyPr wrap="square">
            <a:spAutoFit/>
          </a:bodyPr>
          <a:lstStyle/>
          <a:p>
            <a:pPr algn="ctr"/>
            <a:r>
              <a:rPr lang="en-US" sz="2000" u="sng" dirty="0">
                <a:hlinkClick r:id="rId3"/>
              </a:rPr>
              <a:t>https://lta.cr.usgs.gov/HYDRO1K</a:t>
            </a:r>
            <a:r>
              <a:rPr lang="en-US" sz="2000" dirty="0"/>
              <a:t> </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1000" y="609600"/>
            <a:ext cx="7772400" cy="1470025"/>
          </a:xfrm>
        </p:spPr>
        <p:txBody>
          <a:bodyPr/>
          <a:lstStyle/>
          <a:p>
            <a:r>
              <a:rPr lang="en-US" dirty="0" smtClean="0"/>
              <a:t>Soil Data</a:t>
            </a:r>
            <a:endParaRPr lang="en-US" dirty="0"/>
          </a:p>
        </p:txBody>
      </p:sp>
      <p:sp>
        <p:nvSpPr>
          <p:cNvPr id="5" name="Subtitle 4"/>
          <p:cNvSpPr>
            <a:spLocks noGrp="1"/>
          </p:cNvSpPr>
          <p:nvPr>
            <p:ph type="subTitle" idx="1"/>
          </p:nvPr>
        </p:nvSpPr>
        <p:spPr>
          <a:xfrm>
            <a:off x="152400" y="1828800"/>
            <a:ext cx="8839200" cy="1752600"/>
          </a:xfrm>
        </p:spPr>
        <p:txBody>
          <a:bodyPr/>
          <a:lstStyle/>
          <a:p>
            <a:pPr marL="457200" indent="-457200" algn="l">
              <a:buFont typeface="Arial" pitchFamily="34" charset="0"/>
              <a:buChar char="•"/>
            </a:pPr>
            <a:r>
              <a:rPr lang="en-US" sz="2800" dirty="0"/>
              <a:t>Natural Resources Conservation Service (</a:t>
            </a:r>
            <a:r>
              <a:rPr lang="en-US" sz="2800" dirty="0" smtClean="0"/>
              <a:t>NRCS)</a:t>
            </a:r>
          </a:p>
          <a:p>
            <a:pPr marL="457200" indent="-457200" algn="l">
              <a:buFont typeface="Arial" pitchFamily="34" charset="0"/>
              <a:buChar char="•"/>
            </a:pPr>
            <a:r>
              <a:rPr lang="en-US" sz="2800" dirty="0" smtClean="0"/>
              <a:t>State Soil Geographic Database-STATSGO</a:t>
            </a:r>
          </a:p>
          <a:p>
            <a:pPr marL="457200" indent="-457200" algn="l">
              <a:buFont typeface="Arial" pitchFamily="34" charset="0"/>
              <a:buChar char="•"/>
            </a:pPr>
            <a:r>
              <a:rPr lang="en-US" sz="2800" dirty="0" smtClean="0"/>
              <a:t>Soil </a:t>
            </a:r>
            <a:r>
              <a:rPr lang="en-US" sz="2800" dirty="0"/>
              <a:t>Survey Geographic </a:t>
            </a:r>
            <a:r>
              <a:rPr lang="en-US" sz="2800" dirty="0" smtClean="0"/>
              <a:t>Database- SSURGO</a:t>
            </a:r>
            <a:endParaRPr lang="en-US" sz="2800" dirty="0"/>
          </a:p>
          <a:p>
            <a:pPr algn="l"/>
            <a:endParaRPr lang="en-US" sz="2800" dirty="0"/>
          </a:p>
        </p:txBody>
      </p:sp>
      <p:sp>
        <p:nvSpPr>
          <p:cNvPr id="6" name="Rectangle 5"/>
          <p:cNvSpPr/>
          <p:nvPr/>
        </p:nvSpPr>
        <p:spPr>
          <a:xfrm>
            <a:off x="381000" y="3819828"/>
            <a:ext cx="8763000" cy="1200329"/>
          </a:xfrm>
          <a:prstGeom prst="rect">
            <a:avLst/>
          </a:prstGeom>
        </p:spPr>
        <p:txBody>
          <a:bodyPr wrap="square">
            <a:spAutoFit/>
          </a:bodyPr>
          <a:lstStyle/>
          <a:p>
            <a:r>
              <a:rPr lang="en-US" dirty="0">
                <a:hlinkClick r:id="rId2"/>
              </a:rPr>
              <a:t>http://</a:t>
            </a:r>
            <a:r>
              <a:rPr lang="en-US" dirty="0" smtClean="0">
                <a:hlinkClick r:id="rId2"/>
              </a:rPr>
              <a:t>www.nrcs.usda.gov/wps/portal/nrcs/site/soils/home/</a:t>
            </a:r>
            <a:r>
              <a:rPr lang="en-US" dirty="0" smtClean="0"/>
              <a:t>    </a:t>
            </a:r>
            <a:endParaRPr lang="en-US" dirty="0"/>
          </a:p>
          <a:p>
            <a:r>
              <a:rPr lang="en-US" dirty="0">
                <a:hlinkClick r:id="rId3"/>
              </a:rPr>
              <a:t>http://</a:t>
            </a:r>
            <a:r>
              <a:rPr lang="en-US" dirty="0" smtClean="0">
                <a:hlinkClick r:id="rId3"/>
              </a:rPr>
              <a:t>websoilsurvey.sc.egov.usda.gov/App/WebSoilSurvey.aspx</a:t>
            </a:r>
            <a:endParaRPr lang="en-US" dirty="0" smtClean="0"/>
          </a:p>
          <a:p>
            <a:r>
              <a:rPr lang="en-US" dirty="0" smtClean="0">
                <a:hlinkClick r:id="rId4"/>
              </a:rPr>
              <a:t>http</a:t>
            </a:r>
            <a:r>
              <a:rPr lang="en-US" dirty="0">
                <a:hlinkClick r:id="rId4"/>
              </a:rPr>
              <a:t>://datagateway.nrcs.usda.gov</a:t>
            </a:r>
            <a:r>
              <a:rPr lang="en-US" dirty="0" smtClean="0">
                <a:hlinkClick r:id="rId4"/>
              </a:rPr>
              <a:t>/</a:t>
            </a:r>
            <a:r>
              <a:rPr lang="en-US" dirty="0" smtClean="0"/>
              <a:t> </a:t>
            </a:r>
            <a:endParaRPr lang="en-US" dirty="0"/>
          </a:p>
        </p:txBody>
      </p:sp>
    </p:spTree>
    <p:extLst>
      <p:ext uri="{BB962C8B-B14F-4D97-AF65-F5344CB8AC3E}">
        <p14:creationId xmlns:p14="http://schemas.microsoft.com/office/powerpoint/2010/main" val="36499590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8" name="Picture 4" descr="statsgo1"/>
          <p:cNvPicPr>
            <a:picLocks noChangeAspect="1" noChangeArrowheads="1"/>
          </p:cNvPicPr>
          <p:nvPr/>
        </p:nvPicPr>
        <p:blipFill>
          <a:blip r:embed="rId2" cstate="print"/>
          <a:srcRect/>
          <a:stretch>
            <a:fillRect/>
          </a:stretch>
        </p:blipFill>
        <p:spPr bwMode="auto">
          <a:xfrm>
            <a:off x="1143000" y="69280"/>
            <a:ext cx="6865938" cy="1320800"/>
          </a:xfrm>
          <a:prstGeom prst="rect">
            <a:avLst/>
          </a:prstGeom>
          <a:noFill/>
          <a:ln w="9525">
            <a:noFill/>
            <a:miter lim="800000"/>
            <a:headEnd/>
            <a:tailEnd/>
          </a:ln>
        </p:spPr>
      </p:pic>
      <p:sp>
        <p:nvSpPr>
          <p:cNvPr id="31750" name="Text Box 6"/>
          <p:cNvSpPr txBox="1">
            <a:spLocks noChangeArrowheads="1"/>
          </p:cNvSpPr>
          <p:nvPr/>
        </p:nvSpPr>
        <p:spPr bwMode="auto">
          <a:xfrm>
            <a:off x="381000" y="983680"/>
            <a:ext cx="4243388" cy="457200"/>
          </a:xfrm>
          <a:prstGeom prst="rect">
            <a:avLst/>
          </a:prstGeom>
          <a:noFill/>
          <a:ln w="9525">
            <a:noFill/>
            <a:miter lim="800000"/>
            <a:headEnd/>
            <a:tailEnd/>
          </a:ln>
        </p:spPr>
        <p:txBody>
          <a:bodyPr wrap="none">
            <a:spAutoFit/>
          </a:bodyPr>
          <a:lstStyle/>
          <a:p>
            <a:r>
              <a:rPr lang="en-US" dirty="0"/>
              <a:t>1:250,000 Scale Soil Information</a:t>
            </a:r>
          </a:p>
        </p:txBody>
      </p:sp>
      <p:pic>
        <p:nvPicPr>
          <p:cNvPr id="3" name="Picture 2"/>
          <p:cNvPicPr>
            <a:picLocks noChangeAspect="1"/>
          </p:cNvPicPr>
          <p:nvPr/>
        </p:nvPicPr>
        <p:blipFill>
          <a:blip r:embed="rId3"/>
          <a:stretch>
            <a:fillRect/>
          </a:stretch>
        </p:blipFill>
        <p:spPr>
          <a:xfrm>
            <a:off x="1200783" y="1440880"/>
            <a:ext cx="6847210" cy="5029200"/>
          </a:xfrm>
          <a:prstGeom prst="rect">
            <a:avLst/>
          </a:prstGeom>
        </p:spPr>
      </p:pic>
      <p:sp>
        <p:nvSpPr>
          <p:cNvPr id="4" name="Rectangle 3"/>
          <p:cNvSpPr/>
          <p:nvPr/>
        </p:nvSpPr>
        <p:spPr>
          <a:xfrm>
            <a:off x="2289662" y="6396335"/>
            <a:ext cx="4364528" cy="461665"/>
          </a:xfrm>
          <a:prstGeom prst="rect">
            <a:avLst/>
          </a:prstGeom>
        </p:spPr>
        <p:txBody>
          <a:bodyPr wrap="none">
            <a:spAutoFit/>
          </a:bodyPr>
          <a:lstStyle/>
          <a:p>
            <a:r>
              <a:rPr lang="en-US" dirty="0">
                <a:hlinkClick r:id="rId4"/>
              </a:rPr>
              <a:t>http://datagateway.nrcs.usda.gov</a:t>
            </a:r>
            <a:r>
              <a:rPr lang="en-US" dirty="0" smtClean="0">
                <a:hlinkClick r:id="rId4"/>
              </a:rPr>
              <a:t>/</a:t>
            </a:r>
            <a:r>
              <a:rPr lang="en-US" dirty="0" smtClean="0"/>
              <a:t> </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7" name="Text Box 9"/>
          <p:cNvSpPr txBox="1">
            <a:spLocks noChangeArrowheads="1"/>
          </p:cNvSpPr>
          <p:nvPr/>
        </p:nvSpPr>
        <p:spPr bwMode="auto">
          <a:xfrm>
            <a:off x="117193" y="2285999"/>
            <a:ext cx="2136775" cy="822325"/>
          </a:xfrm>
          <a:prstGeom prst="rect">
            <a:avLst/>
          </a:prstGeom>
          <a:solidFill>
            <a:schemeClr val="bg1"/>
          </a:solidFill>
          <a:ln w="9525">
            <a:noFill/>
            <a:miter lim="800000"/>
            <a:headEnd/>
            <a:tailEnd/>
          </a:ln>
        </p:spPr>
        <p:txBody>
          <a:bodyPr wrap="none">
            <a:spAutoFit/>
          </a:bodyPr>
          <a:lstStyle/>
          <a:p>
            <a:r>
              <a:rPr lang="en-US" dirty="0"/>
              <a:t>1:24,000 scale</a:t>
            </a:r>
          </a:p>
          <a:p>
            <a:r>
              <a:rPr lang="en-US" dirty="0"/>
              <a:t>soil information</a:t>
            </a:r>
          </a:p>
        </p:txBody>
      </p:sp>
      <p:sp>
        <p:nvSpPr>
          <p:cNvPr id="33798" name="Text Box 4"/>
          <p:cNvSpPr txBox="1">
            <a:spLocks noChangeArrowheads="1"/>
          </p:cNvSpPr>
          <p:nvPr/>
        </p:nvSpPr>
        <p:spPr bwMode="auto">
          <a:xfrm>
            <a:off x="0" y="762000"/>
            <a:ext cx="2371162" cy="1200329"/>
          </a:xfrm>
          <a:prstGeom prst="rect">
            <a:avLst/>
          </a:prstGeom>
          <a:solidFill>
            <a:schemeClr val="bg1"/>
          </a:solidFill>
          <a:ln w="9525">
            <a:noFill/>
            <a:miter lim="800000"/>
            <a:headEnd/>
            <a:tailEnd/>
          </a:ln>
        </p:spPr>
        <p:txBody>
          <a:bodyPr wrap="none">
            <a:spAutoFit/>
          </a:bodyPr>
          <a:lstStyle/>
          <a:p>
            <a:r>
              <a:rPr lang="en-US" dirty="0"/>
              <a:t>SSURGO:</a:t>
            </a:r>
          </a:p>
          <a:p>
            <a:r>
              <a:rPr lang="en-US" dirty="0"/>
              <a:t>County Level </a:t>
            </a:r>
          </a:p>
          <a:p>
            <a:r>
              <a:rPr lang="en-US" dirty="0"/>
              <a:t>Digital Soil Maps</a:t>
            </a:r>
          </a:p>
        </p:txBody>
      </p:sp>
      <p:sp>
        <p:nvSpPr>
          <p:cNvPr id="3" name="Rectangle 2"/>
          <p:cNvSpPr/>
          <p:nvPr/>
        </p:nvSpPr>
        <p:spPr>
          <a:xfrm>
            <a:off x="-23695" y="6243925"/>
            <a:ext cx="9153181" cy="400110"/>
          </a:xfrm>
          <a:prstGeom prst="rect">
            <a:avLst/>
          </a:prstGeom>
        </p:spPr>
        <p:txBody>
          <a:bodyPr wrap="square">
            <a:spAutoFit/>
          </a:bodyPr>
          <a:lstStyle/>
          <a:p>
            <a:pPr algn="ctr"/>
            <a:r>
              <a:rPr lang="en-US" sz="2000" dirty="0">
                <a:hlinkClick r:id="rId2"/>
              </a:rPr>
              <a:t>http://</a:t>
            </a:r>
            <a:r>
              <a:rPr lang="en-US" sz="2000" dirty="0" smtClean="0">
                <a:hlinkClick r:id="rId2"/>
              </a:rPr>
              <a:t>websoilsurvey.nrcs.usda.gov/DataAvailability/SoilDataAvailabilityMap.pdf</a:t>
            </a:r>
            <a:r>
              <a:rPr lang="en-US" sz="2000" dirty="0" smtClean="0"/>
              <a:t> </a:t>
            </a:r>
            <a:endParaRPr lang="en-US" sz="2000" dirty="0"/>
          </a:p>
        </p:txBody>
      </p:sp>
      <p:pic>
        <p:nvPicPr>
          <p:cNvPr id="4" name="Picture 3"/>
          <p:cNvPicPr>
            <a:picLocks noChangeAspect="1"/>
          </p:cNvPicPr>
          <p:nvPr/>
        </p:nvPicPr>
        <p:blipFill>
          <a:blip r:embed="rId3"/>
          <a:stretch>
            <a:fillRect/>
          </a:stretch>
        </p:blipFill>
        <p:spPr>
          <a:xfrm>
            <a:off x="2295739" y="762000"/>
            <a:ext cx="6833747" cy="5158255"/>
          </a:xfrm>
          <a:prstGeom prst="rect">
            <a:avLst/>
          </a:prstGeom>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mtClean="0"/>
              <a:t>Ssurgo for Travis County</a:t>
            </a:r>
          </a:p>
        </p:txBody>
      </p:sp>
      <p:pic>
        <p:nvPicPr>
          <p:cNvPr id="34819" name="Picture 2"/>
          <p:cNvPicPr>
            <a:picLocks noChangeAspect="1" noChangeArrowheads="1"/>
          </p:cNvPicPr>
          <p:nvPr/>
        </p:nvPicPr>
        <p:blipFill>
          <a:blip r:embed="rId2" cstate="print"/>
          <a:srcRect/>
          <a:stretch>
            <a:fillRect/>
          </a:stretch>
        </p:blipFill>
        <p:spPr bwMode="auto">
          <a:xfrm>
            <a:off x="304800" y="2590800"/>
            <a:ext cx="3087688" cy="2895600"/>
          </a:xfrm>
          <a:prstGeom prst="rect">
            <a:avLst/>
          </a:prstGeom>
          <a:noFill/>
          <a:ln w="9525">
            <a:noFill/>
            <a:miter lim="800000"/>
            <a:headEnd/>
            <a:tailEnd/>
          </a:ln>
        </p:spPr>
      </p:pic>
      <p:pic>
        <p:nvPicPr>
          <p:cNvPr id="34820" name="Picture 3"/>
          <p:cNvPicPr>
            <a:picLocks noChangeAspect="1" noChangeArrowheads="1"/>
          </p:cNvPicPr>
          <p:nvPr/>
        </p:nvPicPr>
        <p:blipFill>
          <a:blip r:embed="rId3" cstate="print"/>
          <a:srcRect/>
          <a:stretch>
            <a:fillRect/>
          </a:stretch>
        </p:blipFill>
        <p:spPr bwMode="auto">
          <a:xfrm>
            <a:off x="3886200" y="2057400"/>
            <a:ext cx="4979988" cy="4200525"/>
          </a:xfrm>
          <a:prstGeom prst="rect">
            <a:avLst/>
          </a:prstGeom>
          <a:noFill/>
          <a:ln w="9525">
            <a:noFill/>
            <a:miter lim="800000"/>
            <a:headEnd/>
            <a:tailEnd/>
          </a:ln>
        </p:spPr>
      </p:pic>
      <p:cxnSp>
        <p:nvCxnSpPr>
          <p:cNvPr id="6" name="Straight Connector 5"/>
          <p:cNvCxnSpPr/>
          <p:nvPr/>
        </p:nvCxnSpPr>
        <p:spPr>
          <a:xfrm flipV="1">
            <a:off x="2286000" y="2133600"/>
            <a:ext cx="2438400" cy="2057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362200" y="4343400"/>
            <a:ext cx="4343400" cy="1828800"/>
          </a:xfrm>
          <a:prstGeom prst="line">
            <a:avLst/>
          </a:prstGeom>
        </p:spPr>
        <p:style>
          <a:lnRef idx="1">
            <a:schemeClr val="accent1"/>
          </a:lnRef>
          <a:fillRef idx="0">
            <a:schemeClr val="accent1"/>
          </a:fillRef>
          <a:effectRef idx="0">
            <a:schemeClr val="accent1"/>
          </a:effectRef>
          <a:fontRef idx="minor">
            <a:schemeClr val="tx1"/>
          </a:fontRef>
        </p:style>
      </p:cxnSp>
      <p:sp>
        <p:nvSpPr>
          <p:cNvPr id="34823" name="TextBox 8"/>
          <p:cNvSpPr txBox="1">
            <a:spLocks noChangeArrowheads="1"/>
          </p:cNvSpPr>
          <p:nvPr/>
        </p:nvSpPr>
        <p:spPr bwMode="auto">
          <a:xfrm>
            <a:off x="381000" y="5867400"/>
            <a:ext cx="5943600" cy="830263"/>
          </a:xfrm>
          <a:prstGeom prst="rect">
            <a:avLst/>
          </a:prstGeom>
          <a:noFill/>
          <a:ln w="9525">
            <a:noFill/>
            <a:miter lim="800000"/>
            <a:headEnd/>
            <a:tailEnd/>
          </a:ln>
        </p:spPr>
        <p:txBody>
          <a:bodyPr>
            <a:spAutoFit/>
          </a:bodyPr>
          <a:lstStyle/>
          <a:p>
            <a:pPr algn="ctr"/>
            <a:r>
              <a:rPr lang="en-US" dirty="0"/>
              <a:t>103 soil map units described by 7530 polygons of average area  35.37 ha (87 acres)</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32140"/>
          <a:stretch/>
        </p:blipFill>
        <p:spPr>
          <a:xfrm>
            <a:off x="0" y="0"/>
            <a:ext cx="9144000" cy="6879771"/>
          </a:xfrm>
          <a:prstGeom prst="rect">
            <a:avLst/>
          </a:prstGeom>
        </p:spPr>
      </p:pic>
      <p:sp>
        <p:nvSpPr>
          <p:cNvPr id="4" name="Rectangle 5"/>
          <p:cNvSpPr>
            <a:spLocks noChangeArrowheads="1"/>
          </p:cNvSpPr>
          <p:nvPr/>
        </p:nvSpPr>
        <p:spPr bwMode="auto">
          <a:xfrm>
            <a:off x="3581400" y="6248400"/>
            <a:ext cx="3437801" cy="461665"/>
          </a:xfrm>
          <a:prstGeom prst="rect">
            <a:avLst/>
          </a:prstGeom>
          <a:solidFill>
            <a:schemeClr val="bg1"/>
          </a:solidFill>
          <a:ln w="9525">
            <a:noFill/>
            <a:miter lim="800000"/>
            <a:headEnd/>
            <a:tailEnd/>
          </a:ln>
        </p:spPr>
        <p:txBody>
          <a:bodyPr wrap="none">
            <a:spAutoFit/>
          </a:bodyPr>
          <a:lstStyle/>
          <a:p>
            <a:r>
              <a:rPr lang="en-US" dirty="0">
                <a:solidFill>
                  <a:schemeClr val="accent2"/>
                </a:solidFill>
                <a:hlinkClick r:id="rId3"/>
              </a:rPr>
              <a:t>http://landcover.usgs.gov</a:t>
            </a:r>
            <a:r>
              <a:rPr lang="en-US" dirty="0" smtClean="0">
                <a:solidFill>
                  <a:schemeClr val="accent2"/>
                </a:solidFill>
                <a:hlinkClick r:id="rId3"/>
              </a:rPr>
              <a:t>/</a:t>
            </a:r>
            <a:r>
              <a:rPr lang="en-US" dirty="0" smtClean="0">
                <a:solidFill>
                  <a:schemeClr val="accent2"/>
                </a:solidFill>
              </a:rPr>
              <a:t> </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287818" y="2057400"/>
            <a:ext cx="3429000" cy="4616648"/>
          </a:xfrm>
          <a:prstGeom prst="rect">
            <a:avLst/>
          </a:prstGeom>
        </p:spPr>
        <p:txBody>
          <a:bodyPr wrap="square">
            <a:spAutoFit/>
          </a:bodyPr>
          <a:lstStyle/>
          <a:p>
            <a:r>
              <a:rPr lang="en-US" sz="1400" dirty="0">
                <a:hlinkClick r:id="rId2"/>
              </a:rPr>
              <a:t>Region 01</a:t>
            </a:r>
            <a:r>
              <a:rPr lang="en-US" sz="1400" dirty="0"/>
              <a:t> New England</a:t>
            </a:r>
            <a:br>
              <a:rPr lang="en-US" sz="1400" dirty="0"/>
            </a:br>
            <a:r>
              <a:rPr lang="en-US" sz="1400" dirty="0">
                <a:hlinkClick r:id="rId2"/>
              </a:rPr>
              <a:t>Region 02</a:t>
            </a:r>
            <a:r>
              <a:rPr lang="en-US" sz="1400" dirty="0"/>
              <a:t> Mid-Atlantic</a:t>
            </a:r>
            <a:br>
              <a:rPr lang="en-US" sz="1400" dirty="0"/>
            </a:br>
            <a:r>
              <a:rPr lang="en-US" sz="1400" dirty="0">
                <a:hlinkClick r:id="rId2"/>
              </a:rPr>
              <a:t>Region 03</a:t>
            </a:r>
            <a:r>
              <a:rPr lang="en-US" sz="1400" dirty="0"/>
              <a:t> South Atlantic-Gulf</a:t>
            </a:r>
            <a:br>
              <a:rPr lang="en-US" sz="1400" dirty="0"/>
            </a:br>
            <a:r>
              <a:rPr lang="en-US" sz="1400" dirty="0">
                <a:hlinkClick r:id="rId2"/>
              </a:rPr>
              <a:t>Region 04</a:t>
            </a:r>
            <a:r>
              <a:rPr lang="en-US" sz="1400" dirty="0"/>
              <a:t> Great Lakes</a:t>
            </a:r>
            <a:br>
              <a:rPr lang="en-US" sz="1400" dirty="0"/>
            </a:br>
            <a:r>
              <a:rPr lang="en-US" sz="1400" dirty="0">
                <a:hlinkClick r:id="rId2"/>
              </a:rPr>
              <a:t>Region 05</a:t>
            </a:r>
            <a:r>
              <a:rPr lang="en-US" sz="1400" dirty="0"/>
              <a:t> Ohio</a:t>
            </a:r>
            <a:br>
              <a:rPr lang="en-US" sz="1400" dirty="0"/>
            </a:br>
            <a:r>
              <a:rPr lang="en-US" sz="1400" dirty="0">
                <a:hlinkClick r:id="rId2"/>
              </a:rPr>
              <a:t>Region 06</a:t>
            </a:r>
            <a:r>
              <a:rPr lang="en-US" sz="1400" dirty="0"/>
              <a:t> Tennessee</a:t>
            </a:r>
            <a:br>
              <a:rPr lang="en-US" sz="1400" dirty="0"/>
            </a:br>
            <a:r>
              <a:rPr lang="en-US" sz="1400" dirty="0">
                <a:hlinkClick r:id="rId2"/>
              </a:rPr>
              <a:t>Region 07</a:t>
            </a:r>
            <a:r>
              <a:rPr lang="en-US" sz="1400" dirty="0"/>
              <a:t> Upper Mississippi</a:t>
            </a:r>
            <a:br>
              <a:rPr lang="en-US" sz="1400" dirty="0"/>
            </a:br>
            <a:r>
              <a:rPr lang="en-US" sz="1400" dirty="0">
                <a:hlinkClick r:id="rId2"/>
              </a:rPr>
              <a:t>Region 08</a:t>
            </a:r>
            <a:r>
              <a:rPr lang="en-US" sz="1400" dirty="0"/>
              <a:t> Lower Mississippi</a:t>
            </a:r>
            <a:br>
              <a:rPr lang="en-US" sz="1400" dirty="0"/>
            </a:br>
            <a:r>
              <a:rPr lang="en-US" sz="1400" dirty="0">
                <a:hlinkClick r:id="rId2"/>
              </a:rPr>
              <a:t>Region 09</a:t>
            </a:r>
            <a:r>
              <a:rPr lang="en-US" sz="1400" dirty="0"/>
              <a:t> Souris-Red-Rainy</a:t>
            </a:r>
            <a:br>
              <a:rPr lang="en-US" sz="1400" dirty="0"/>
            </a:br>
            <a:r>
              <a:rPr lang="en-US" sz="1400" dirty="0">
                <a:hlinkClick r:id="rId2"/>
              </a:rPr>
              <a:t>Region 10</a:t>
            </a:r>
            <a:r>
              <a:rPr lang="en-US" sz="1400" dirty="0"/>
              <a:t> Missouri</a:t>
            </a:r>
            <a:br>
              <a:rPr lang="en-US" sz="1400" dirty="0"/>
            </a:br>
            <a:r>
              <a:rPr lang="en-US" sz="1400" dirty="0">
                <a:hlinkClick r:id="rId2"/>
              </a:rPr>
              <a:t>Region 11</a:t>
            </a:r>
            <a:r>
              <a:rPr lang="en-US" sz="1400" dirty="0"/>
              <a:t> Arkansas-White-Red</a:t>
            </a:r>
            <a:br>
              <a:rPr lang="en-US" sz="1400" dirty="0"/>
            </a:br>
            <a:r>
              <a:rPr lang="en-US" sz="1400" dirty="0">
                <a:hlinkClick r:id="rId2"/>
              </a:rPr>
              <a:t>Region 12</a:t>
            </a:r>
            <a:r>
              <a:rPr lang="en-US" sz="1400" dirty="0"/>
              <a:t> Texas-Gulf</a:t>
            </a:r>
            <a:br>
              <a:rPr lang="en-US" sz="1400" dirty="0"/>
            </a:br>
            <a:r>
              <a:rPr lang="en-US" sz="1400" dirty="0">
                <a:hlinkClick r:id="rId2"/>
              </a:rPr>
              <a:t>Region 13</a:t>
            </a:r>
            <a:r>
              <a:rPr lang="en-US" sz="1400" dirty="0"/>
              <a:t> Rio Grande</a:t>
            </a:r>
            <a:br>
              <a:rPr lang="en-US" sz="1400" dirty="0"/>
            </a:br>
            <a:r>
              <a:rPr lang="en-US" sz="1400" dirty="0">
                <a:hlinkClick r:id="rId2"/>
              </a:rPr>
              <a:t>Region 14</a:t>
            </a:r>
            <a:r>
              <a:rPr lang="en-US" sz="1400" dirty="0"/>
              <a:t> Upper Colorado</a:t>
            </a:r>
            <a:br>
              <a:rPr lang="en-US" sz="1400" dirty="0"/>
            </a:br>
            <a:r>
              <a:rPr lang="en-US" sz="1400" dirty="0">
                <a:hlinkClick r:id="rId2"/>
              </a:rPr>
              <a:t>Region 15</a:t>
            </a:r>
            <a:r>
              <a:rPr lang="en-US" sz="1400" dirty="0"/>
              <a:t> Lower Colorado</a:t>
            </a:r>
            <a:br>
              <a:rPr lang="en-US" sz="1400" dirty="0"/>
            </a:br>
            <a:r>
              <a:rPr lang="en-US" sz="1400" dirty="0">
                <a:hlinkClick r:id="rId2"/>
              </a:rPr>
              <a:t>Region 16</a:t>
            </a:r>
            <a:r>
              <a:rPr lang="en-US" sz="1400" dirty="0"/>
              <a:t> Great Basin</a:t>
            </a:r>
            <a:br>
              <a:rPr lang="en-US" sz="1400" dirty="0"/>
            </a:br>
            <a:r>
              <a:rPr lang="en-US" sz="1400" dirty="0">
                <a:hlinkClick r:id="rId2"/>
              </a:rPr>
              <a:t>Region 17</a:t>
            </a:r>
            <a:r>
              <a:rPr lang="en-US" sz="1400" dirty="0"/>
              <a:t> Pacific Northwest</a:t>
            </a:r>
            <a:br>
              <a:rPr lang="en-US" sz="1400" dirty="0"/>
            </a:br>
            <a:r>
              <a:rPr lang="en-US" sz="1400" dirty="0">
                <a:hlinkClick r:id="rId2"/>
              </a:rPr>
              <a:t>Region 18</a:t>
            </a:r>
            <a:r>
              <a:rPr lang="en-US" sz="1400" dirty="0"/>
              <a:t> California</a:t>
            </a:r>
            <a:br>
              <a:rPr lang="en-US" sz="1400" dirty="0"/>
            </a:br>
            <a:r>
              <a:rPr lang="en-US" sz="1400" dirty="0">
                <a:hlinkClick r:id="rId2"/>
              </a:rPr>
              <a:t>Region 19</a:t>
            </a:r>
            <a:r>
              <a:rPr lang="en-US" sz="1400" dirty="0"/>
              <a:t> Alaska (Old numbering system)</a:t>
            </a:r>
            <a:br>
              <a:rPr lang="en-US" sz="1400" dirty="0"/>
            </a:br>
            <a:r>
              <a:rPr lang="en-US" sz="1400" dirty="0">
                <a:hlinkClick r:id="rId2"/>
              </a:rPr>
              <a:t>Region 20</a:t>
            </a:r>
            <a:r>
              <a:rPr lang="en-US" sz="1400" dirty="0"/>
              <a:t> Hawaii</a:t>
            </a:r>
            <a:br>
              <a:rPr lang="en-US" sz="1400" dirty="0"/>
            </a:br>
            <a:r>
              <a:rPr lang="en-US" sz="1400" dirty="0">
                <a:hlinkClick r:id="rId2"/>
              </a:rPr>
              <a:t>Region 21</a:t>
            </a:r>
            <a:r>
              <a:rPr lang="en-US" sz="1400" dirty="0"/>
              <a:t> Caribbean</a:t>
            </a:r>
          </a:p>
        </p:txBody>
      </p:sp>
      <p:pic>
        <p:nvPicPr>
          <p:cNvPr id="4" name="Picture 6" descr="huc2"/>
          <p:cNvPicPr>
            <a:picLocks noChangeAspect="1" noChangeArrowheads="1"/>
          </p:cNvPicPr>
          <p:nvPr/>
        </p:nvPicPr>
        <p:blipFill>
          <a:blip r:embed="rId3" cstate="print"/>
          <a:srcRect/>
          <a:stretch>
            <a:fillRect/>
          </a:stretch>
        </p:blipFill>
        <p:spPr bwMode="auto">
          <a:xfrm>
            <a:off x="738837" y="2514600"/>
            <a:ext cx="4264080" cy="2819400"/>
          </a:xfrm>
          <a:prstGeom prst="rect">
            <a:avLst/>
          </a:prstGeom>
          <a:noFill/>
          <a:ln w="9525">
            <a:noFill/>
            <a:miter lim="800000"/>
            <a:headEnd/>
            <a:tailEnd/>
          </a:ln>
        </p:spPr>
      </p:pic>
      <p:sp>
        <p:nvSpPr>
          <p:cNvPr id="5" name="Text Box 4"/>
          <p:cNvSpPr txBox="1">
            <a:spLocks noChangeArrowheads="1"/>
          </p:cNvSpPr>
          <p:nvPr/>
        </p:nvSpPr>
        <p:spPr bwMode="auto">
          <a:xfrm>
            <a:off x="304800" y="1371600"/>
            <a:ext cx="8839200" cy="461665"/>
          </a:xfrm>
          <a:prstGeom prst="rect">
            <a:avLst/>
          </a:prstGeom>
          <a:noFill/>
          <a:ln w="9525">
            <a:noFill/>
            <a:miter lim="800000"/>
            <a:headEnd/>
            <a:tailEnd/>
          </a:ln>
        </p:spPr>
        <p:txBody>
          <a:bodyPr wrap="square">
            <a:spAutoFit/>
          </a:bodyPr>
          <a:lstStyle/>
          <a:p>
            <a:r>
              <a:rPr lang="en-US" dirty="0" smtClean="0"/>
              <a:t>There are 21 water resources regions in the United States</a:t>
            </a:r>
          </a:p>
        </p:txBody>
      </p:sp>
      <p:sp>
        <p:nvSpPr>
          <p:cNvPr id="6" name="Rectangle 2"/>
          <p:cNvSpPr>
            <a:spLocks noGrp="1" noChangeArrowheads="1"/>
          </p:cNvSpPr>
          <p:nvPr>
            <p:ph type="title"/>
          </p:nvPr>
        </p:nvSpPr>
        <p:spPr>
          <a:xfrm>
            <a:off x="805656" y="228600"/>
            <a:ext cx="7881144" cy="1143000"/>
          </a:xfrm>
        </p:spPr>
        <p:txBody>
          <a:bodyPr/>
          <a:lstStyle/>
          <a:p>
            <a:pPr eaLnBrk="1" hangingPunct="1"/>
            <a:r>
              <a:rPr lang="en-US" sz="3200" dirty="0" smtClean="0"/>
              <a:t>Water Resources Regions of the US </a:t>
            </a:r>
          </a:p>
        </p:txBody>
      </p:sp>
      <p:sp>
        <p:nvSpPr>
          <p:cNvPr id="2" name="Rectangle 1"/>
          <p:cNvSpPr/>
          <p:nvPr/>
        </p:nvSpPr>
        <p:spPr>
          <a:xfrm>
            <a:off x="738837" y="5486400"/>
            <a:ext cx="4114800" cy="707886"/>
          </a:xfrm>
          <a:prstGeom prst="rect">
            <a:avLst/>
          </a:prstGeom>
        </p:spPr>
        <p:txBody>
          <a:bodyPr wrap="square">
            <a:spAutoFit/>
          </a:bodyPr>
          <a:lstStyle/>
          <a:p>
            <a:pPr algn="ctr"/>
            <a:r>
              <a:rPr lang="en-US" sz="2000" dirty="0"/>
              <a:t>Eighteen 2-digit water resource regions in the Contiguous US</a:t>
            </a:r>
          </a:p>
        </p:txBody>
      </p:sp>
    </p:spTree>
    <p:extLst>
      <p:ext uri="{BB962C8B-B14F-4D97-AF65-F5344CB8AC3E}">
        <p14:creationId xmlns:p14="http://schemas.microsoft.com/office/powerpoint/2010/main" val="31844355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685800" y="369458"/>
            <a:ext cx="7772400" cy="1143000"/>
          </a:xfrm>
        </p:spPr>
        <p:txBody>
          <a:bodyPr/>
          <a:lstStyle/>
          <a:p>
            <a:pPr eaLnBrk="1" hangingPunct="1"/>
            <a:r>
              <a:rPr lang="en-US" dirty="0" smtClean="0"/>
              <a:t>National Land Cover Dataset</a:t>
            </a:r>
          </a:p>
        </p:txBody>
      </p:sp>
      <p:sp>
        <p:nvSpPr>
          <p:cNvPr id="35847" name="Text Box 7"/>
          <p:cNvSpPr txBox="1">
            <a:spLocks noChangeArrowheads="1"/>
          </p:cNvSpPr>
          <p:nvPr/>
        </p:nvSpPr>
        <p:spPr bwMode="auto">
          <a:xfrm>
            <a:off x="914400" y="6096000"/>
            <a:ext cx="1738313" cy="457200"/>
          </a:xfrm>
          <a:prstGeom prst="rect">
            <a:avLst/>
          </a:prstGeom>
          <a:noFill/>
          <a:ln w="9525">
            <a:noFill/>
            <a:miter lim="800000"/>
            <a:headEnd/>
            <a:tailEnd/>
          </a:ln>
        </p:spPr>
        <p:txBody>
          <a:bodyPr wrap="none">
            <a:spAutoFit/>
          </a:bodyPr>
          <a:lstStyle/>
          <a:p>
            <a:r>
              <a:rPr lang="en-US" dirty="0"/>
              <a:t>Get the data:</a:t>
            </a:r>
          </a:p>
        </p:txBody>
      </p:sp>
      <p:sp>
        <p:nvSpPr>
          <p:cNvPr id="2" name="Rectangle 1"/>
          <p:cNvSpPr/>
          <p:nvPr/>
        </p:nvSpPr>
        <p:spPr>
          <a:xfrm>
            <a:off x="2671763" y="6074073"/>
            <a:ext cx="6858000" cy="461665"/>
          </a:xfrm>
          <a:prstGeom prst="rect">
            <a:avLst/>
          </a:prstGeom>
        </p:spPr>
        <p:txBody>
          <a:bodyPr wrap="square">
            <a:spAutoFit/>
          </a:bodyPr>
          <a:lstStyle/>
          <a:p>
            <a:r>
              <a:rPr lang="en-US" dirty="0">
                <a:hlinkClick r:id="rId2"/>
              </a:rPr>
              <a:t>http://www.mrlc.gov/</a:t>
            </a:r>
            <a:endParaRPr lang="en-US" dirty="0"/>
          </a:p>
        </p:txBody>
      </p:sp>
      <p:sp>
        <p:nvSpPr>
          <p:cNvPr id="3" name="Rectangle 2"/>
          <p:cNvSpPr/>
          <p:nvPr/>
        </p:nvSpPr>
        <p:spPr>
          <a:xfrm>
            <a:off x="2057400" y="1360058"/>
            <a:ext cx="3541162" cy="461665"/>
          </a:xfrm>
          <a:prstGeom prst="rect">
            <a:avLst/>
          </a:prstGeom>
        </p:spPr>
        <p:txBody>
          <a:bodyPr wrap="none">
            <a:spAutoFit/>
          </a:bodyPr>
          <a:lstStyle/>
          <a:p>
            <a:r>
              <a:rPr lang="en-US" dirty="0"/>
              <a:t>1992, 2001, </a:t>
            </a:r>
            <a:r>
              <a:rPr lang="en-US" dirty="0" smtClean="0"/>
              <a:t>2006 and 2011</a:t>
            </a:r>
            <a:endParaRPr lang="en-US" dirty="0"/>
          </a:p>
        </p:txBody>
      </p:sp>
      <p:pic>
        <p:nvPicPr>
          <p:cNvPr id="4" name="Picture 3"/>
          <p:cNvPicPr>
            <a:picLocks noChangeAspect="1"/>
          </p:cNvPicPr>
          <p:nvPr/>
        </p:nvPicPr>
        <p:blipFill>
          <a:blip r:embed="rId3"/>
          <a:stretch>
            <a:fillRect/>
          </a:stretch>
        </p:blipFill>
        <p:spPr>
          <a:xfrm>
            <a:off x="526039" y="1865604"/>
            <a:ext cx="7932161" cy="4164587"/>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pPr eaLnBrk="1" hangingPunct="1"/>
            <a:endParaRPr lang="en-US" smtClean="0"/>
          </a:p>
        </p:txBody>
      </p:sp>
      <p:pic>
        <p:nvPicPr>
          <p:cNvPr id="36867" name="Picture 3" descr="landclass"/>
          <p:cNvPicPr>
            <a:picLocks noChangeAspect="1" noChangeArrowheads="1"/>
          </p:cNvPicPr>
          <p:nvPr/>
        </p:nvPicPr>
        <p:blipFill>
          <a:blip r:embed="rId2" cstate="print"/>
          <a:srcRect/>
          <a:stretch>
            <a:fillRect/>
          </a:stretch>
        </p:blipFill>
        <p:spPr bwMode="auto">
          <a:xfrm>
            <a:off x="533400" y="134938"/>
            <a:ext cx="8001000" cy="652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2"/>
          <p:cNvPicPr>
            <a:picLocks noChangeAspect="1" noChangeArrowheads="1"/>
          </p:cNvPicPr>
          <p:nvPr/>
        </p:nvPicPr>
        <p:blipFill>
          <a:blip r:embed="rId2" cstate="print"/>
          <a:srcRect/>
          <a:stretch>
            <a:fillRect/>
          </a:stretch>
        </p:blipFill>
        <p:spPr bwMode="auto">
          <a:xfrm>
            <a:off x="990600" y="0"/>
            <a:ext cx="7239000" cy="1181100"/>
          </a:xfrm>
          <a:prstGeom prst="rect">
            <a:avLst/>
          </a:prstGeom>
          <a:noFill/>
          <a:ln w="9525">
            <a:noFill/>
            <a:miter lim="800000"/>
            <a:headEnd/>
            <a:tailEnd/>
          </a:ln>
        </p:spPr>
      </p:pic>
      <p:pic>
        <p:nvPicPr>
          <p:cNvPr id="73731" name="Picture 3"/>
          <p:cNvPicPr>
            <a:picLocks noChangeAspect="1" noChangeArrowheads="1"/>
          </p:cNvPicPr>
          <p:nvPr/>
        </p:nvPicPr>
        <p:blipFill>
          <a:blip r:embed="rId3" cstate="print"/>
          <a:srcRect/>
          <a:stretch>
            <a:fillRect/>
          </a:stretch>
        </p:blipFill>
        <p:spPr bwMode="auto">
          <a:xfrm>
            <a:off x="1447800" y="1600200"/>
            <a:ext cx="6315075" cy="5086350"/>
          </a:xfrm>
          <a:prstGeom prst="rect">
            <a:avLst/>
          </a:prstGeom>
          <a:noFill/>
          <a:ln w="9525">
            <a:noFill/>
            <a:miter lim="800000"/>
            <a:headEnd/>
            <a:tailEnd/>
          </a:ln>
        </p:spPr>
      </p:pic>
      <p:sp>
        <p:nvSpPr>
          <p:cNvPr id="5" name="Rectangle 4"/>
          <p:cNvSpPr/>
          <p:nvPr/>
        </p:nvSpPr>
        <p:spPr>
          <a:xfrm>
            <a:off x="1752600" y="1143000"/>
            <a:ext cx="5638800" cy="461665"/>
          </a:xfrm>
          <a:prstGeom prst="rect">
            <a:avLst/>
          </a:prstGeom>
        </p:spPr>
        <p:txBody>
          <a:bodyPr wrap="square">
            <a:spAutoFit/>
          </a:bodyPr>
          <a:lstStyle/>
          <a:p>
            <a:r>
              <a:rPr lang="en-US" dirty="0" smtClean="0">
                <a:hlinkClick r:id="rId4"/>
              </a:rPr>
              <a:t>http://www.nationalatlas.gov/atlasftp.html</a:t>
            </a:r>
            <a:r>
              <a:rPr lang="en-US" dirty="0" smtClean="0"/>
              <a:t> </a:t>
            </a:r>
            <a:endParaRPr lang="en-US" dirty="0"/>
          </a:p>
        </p:txBody>
      </p:sp>
      <p:pic>
        <p:nvPicPr>
          <p:cNvPr id="2" name="Picture 1"/>
          <p:cNvPicPr>
            <a:picLocks noChangeAspect="1"/>
          </p:cNvPicPr>
          <p:nvPr/>
        </p:nvPicPr>
        <p:blipFill>
          <a:blip r:embed="rId5"/>
          <a:stretch>
            <a:fillRect/>
          </a:stretch>
        </p:blipFill>
        <p:spPr>
          <a:xfrm rot="19690237">
            <a:off x="953165" y="2999475"/>
            <a:ext cx="7381875" cy="1704975"/>
          </a:xfrm>
          <a:prstGeom prst="rect">
            <a:avLst/>
          </a:prstGeom>
          <a:ln w="57150">
            <a:solidFill>
              <a:srgbClr val="FF0000"/>
            </a:solidFill>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09152" y="78509"/>
            <a:ext cx="8870278" cy="6779491"/>
          </a:xfrm>
          <a:prstGeom prst="rect">
            <a:avLst/>
          </a:prstGeom>
        </p:spPr>
      </p:pic>
      <p:sp>
        <p:nvSpPr>
          <p:cNvPr id="3" name="Title 2"/>
          <p:cNvSpPr>
            <a:spLocks noGrp="1"/>
          </p:cNvSpPr>
          <p:nvPr>
            <p:ph type="title"/>
          </p:nvPr>
        </p:nvSpPr>
        <p:spPr>
          <a:xfrm>
            <a:off x="1736435" y="64655"/>
            <a:ext cx="6694055" cy="683490"/>
          </a:xfrm>
        </p:spPr>
        <p:txBody>
          <a:bodyPr/>
          <a:lstStyle/>
          <a:p>
            <a:r>
              <a:rPr lang="en-US" sz="3600" dirty="0" smtClean="0">
                <a:hlinkClick r:id="rId3"/>
              </a:rPr>
              <a:t>www.climate.gov</a:t>
            </a:r>
            <a:r>
              <a:rPr lang="en-US" sz="3600" dirty="0" smtClean="0"/>
              <a:t> </a:t>
            </a:r>
            <a:endParaRPr lang="en-US" sz="3600" dirty="0"/>
          </a:p>
        </p:txBody>
      </p:sp>
    </p:spTree>
    <p:extLst>
      <p:ext uri="{BB962C8B-B14F-4D97-AF65-F5344CB8AC3E}">
        <p14:creationId xmlns:p14="http://schemas.microsoft.com/office/powerpoint/2010/main" val="147016955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3173"/>
          <a:stretch/>
        </p:blipFill>
        <p:spPr bwMode="auto">
          <a:xfrm>
            <a:off x="1223963" y="228601"/>
            <a:ext cx="6653508" cy="586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4"/>
          <p:cNvSpPr>
            <a:spLocks noChangeArrowheads="1"/>
          </p:cNvSpPr>
          <p:nvPr/>
        </p:nvSpPr>
        <p:spPr bwMode="auto">
          <a:xfrm>
            <a:off x="2190750" y="6193482"/>
            <a:ext cx="5175648" cy="461665"/>
          </a:xfrm>
          <a:prstGeom prst="rect">
            <a:avLst/>
          </a:prstGeom>
          <a:noFill/>
          <a:ln w="9525">
            <a:noFill/>
            <a:miter lim="800000"/>
            <a:headEnd/>
            <a:tailEnd/>
          </a:ln>
        </p:spPr>
        <p:txBody>
          <a:bodyPr wrap="none">
            <a:spAutoFit/>
          </a:bodyPr>
          <a:lstStyle/>
          <a:p>
            <a:r>
              <a:rPr lang="en-US" dirty="0">
                <a:solidFill>
                  <a:schemeClr val="accent2"/>
                </a:solidFill>
                <a:hlinkClick r:id="rId3"/>
              </a:rPr>
              <a:t>http://</a:t>
            </a:r>
            <a:r>
              <a:rPr lang="en-US" dirty="0" smtClean="0">
                <a:solidFill>
                  <a:schemeClr val="accent2"/>
                </a:solidFill>
                <a:hlinkClick r:id="rId3"/>
              </a:rPr>
              <a:t>www.ncdc.noaa.gov/oa/ncdc.html</a:t>
            </a:r>
            <a:r>
              <a:rPr lang="en-US"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40976043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358774" y="1105903"/>
            <a:ext cx="8937625" cy="646697"/>
          </a:xfrm>
        </p:spPr>
        <p:txBody>
          <a:bodyPr/>
          <a:lstStyle/>
          <a:p>
            <a:pPr eaLnBrk="1" hangingPunct="1"/>
            <a:r>
              <a:rPr lang="en-US" sz="2400" dirty="0" smtClean="0"/>
              <a:t>PRISM Mean Annual Precipitation (Oregon State U.)</a:t>
            </a:r>
          </a:p>
        </p:txBody>
      </p:sp>
      <p:pic>
        <p:nvPicPr>
          <p:cNvPr id="38916" name="Picture 4" descr="climate_logo"/>
          <p:cNvPicPr>
            <a:picLocks noChangeAspect="1" noChangeArrowheads="1"/>
          </p:cNvPicPr>
          <p:nvPr/>
        </p:nvPicPr>
        <p:blipFill>
          <a:blip r:embed="rId2" cstate="print"/>
          <a:srcRect/>
          <a:stretch>
            <a:fillRect/>
          </a:stretch>
        </p:blipFill>
        <p:spPr bwMode="auto">
          <a:xfrm>
            <a:off x="990600" y="228600"/>
            <a:ext cx="7429500" cy="857250"/>
          </a:xfrm>
          <a:prstGeom prst="rect">
            <a:avLst/>
          </a:prstGeom>
          <a:noFill/>
          <a:ln w="9525">
            <a:noFill/>
            <a:miter lim="800000"/>
            <a:headEnd/>
            <a:tailEnd/>
          </a:ln>
        </p:spPr>
      </p:pic>
      <p:sp>
        <p:nvSpPr>
          <p:cNvPr id="38917" name="Rectangle 5"/>
          <p:cNvSpPr>
            <a:spLocks noChangeArrowheads="1"/>
          </p:cNvSpPr>
          <p:nvPr/>
        </p:nvSpPr>
        <p:spPr bwMode="auto">
          <a:xfrm>
            <a:off x="1331495" y="6172200"/>
            <a:ext cx="6397136" cy="461665"/>
          </a:xfrm>
          <a:prstGeom prst="rect">
            <a:avLst/>
          </a:prstGeom>
          <a:noFill/>
          <a:ln w="9525">
            <a:noFill/>
            <a:miter lim="800000"/>
            <a:headEnd/>
            <a:tailEnd/>
          </a:ln>
        </p:spPr>
        <p:txBody>
          <a:bodyPr wrap="none">
            <a:spAutoFit/>
          </a:bodyPr>
          <a:lstStyle/>
          <a:p>
            <a:r>
              <a:rPr lang="en-US" dirty="0">
                <a:hlinkClick r:id="rId3"/>
              </a:rPr>
              <a:t>http://</a:t>
            </a:r>
            <a:r>
              <a:rPr lang="en-US" dirty="0" smtClean="0">
                <a:hlinkClick r:id="rId3"/>
              </a:rPr>
              <a:t>www.wcc.nrcs.usda.gov/climate/prism.html</a:t>
            </a:r>
            <a:r>
              <a:rPr lang="en-US" dirty="0" smtClean="0"/>
              <a:t> </a:t>
            </a:r>
            <a:endParaRPr lang="en-US" dirty="0"/>
          </a:p>
        </p:txBody>
      </p:sp>
      <p:pic>
        <p:nvPicPr>
          <p:cNvPr id="2" name="Picture 1"/>
          <p:cNvPicPr>
            <a:picLocks noChangeAspect="1"/>
          </p:cNvPicPr>
          <p:nvPr/>
        </p:nvPicPr>
        <p:blipFill>
          <a:blip r:embed="rId4"/>
          <a:stretch>
            <a:fillRect/>
          </a:stretch>
        </p:blipFill>
        <p:spPr>
          <a:xfrm>
            <a:off x="1521619" y="1828800"/>
            <a:ext cx="6367462" cy="4395164"/>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381000" y="381000"/>
            <a:ext cx="8229600" cy="914400"/>
          </a:xfrm>
        </p:spPr>
        <p:txBody>
          <a:bodyPr/>
          <a:lstStyle/>
          <a:p>
            <a:pPr eaLnBrk="1" hangingPunct="1"/>
            <a:r>
              <a:rPr lang="en-US" sz="3600" dirty="0" smtClean="0"/>
              <a:t>National Water Information System</a:t>
            </a:r>
          </a:p>
        </p:txBody>
      </p:sp>
      <p:pic>
        <p:nvPicPr>
          <p:cNvPr id="40963" name="Picture 5" descr="nwis"/>
          <p:cNvPicPr>
            <a:picLocks noChangeAspect="1" noChangeArrowheads="1"/>
          </p:cNvPicPr>
          <p:nvPr/>
        </p:nvPicPr>
        <p:blipFill>
          <a:blip r:embed="rId2" cstate="print"/>
          <a:srcRect/>
          <a:stretch>
            <a:fillRect/>
          </a:stretch>
        </p:blipFill>
        <p:spPr bwMode="auto">
          <a:xfrm>
            <a:off x="762000" y="1600200"/>
            <a:ext cx="5481638" cy="4684713"/>
          </a:xfrm>
          <a:prstGeom prst="rect">
            <a:avLst/>
          </a:prstGeom>
          <a:noFill/>
          <a:ln w="9525">
            <a:noFill/>
            <a:miter lim="800000"/>
            <a:headEnd/>
            <a:tailEnd/>
          </a:ln>
        </p:spPr>
      </p:pic>
      <p:sp>
        <p:nvSpPr>
          <p:cNvPr id="40964" name="Text Box 4"/>
          <p:cNvSpPr txBox="1">
            <a:spLocks noChangeArrowheads="1"/>
          </p:cNvSpPr>
          <p:nvPr/>
        </p:nvSpPr>
        <p:spPr bwMode="auto">
          <a:xfrm>
            <a:off x="5532438" y="2743200"/>
            <a:ext cx="3611562" cy="822325"/>
          </a:xfrm>
          <a:prstGeom prst="rect">
            <a:avLst/>
          </a:prstGeom>
          <a:solidFill>
            <a:schemeClr val="bg1"/>
          </a:solidFill>
          <a:ln w="9525">
            <a:noFill/>
            <a:miter lim="800000"/>
            <a:headEnd/>
            <a:tailEnd/>
          </a:ln>
        </p:spPr>
        <p:txBody>
          <a:bodyPr wrap="none">
            <a:spAutoFit/>
          </a:bodyPr>
          <a:lstStyle/>
          <a:p>
            <a:r>
              <a:rPr lang="en-US"/>
              <a:t>Web access to USGS water </a:t>
            </a:r>
          </a:p>
          <a:p>
            <a:r>
              <a:rPr lang="en-US"/>
              <a:t>resources data in real time</a:t>
            </a:r>
          </a:p>
        </p:txBody>
      </p:sp>
      <p:sp>
        <p:nvSpPr>
          <p:cNvPr id="40965" name="Rectangle 6"/>
          <p:cNvSpPr>
            <a:spLocks noChangeArrowheads="1"/>
          </p:cNvSpPr>
          <p:nvPr/>
        </p:nvSpPr>
        <p:spPr bwMode="auto">
          <a:xfrm>
            <a:off x="5791200" y="3505200"/>
            <a:ext cx="2057400" cy="2895600"/>
          </a:xfrm>
          <a:prstGeom prst="rect">
            <a:avLst/>
          </a:prstGeom>
          <a:solidFill>
            <a:schemeClr val="bg1"/>
          </a:solidFill>
          <a:ln w="9525">
            <a:solidFill>
              <a:schemeClr val="bg1"/>
            </a:solidFill>
            <a:miter lim="800000"/>
            <a:headEnd/>
            <a:tailEnd/>
          </a:ln>
        </p:spPr>
        <p:txBody>
          <a:bodyPr wrap="none" anchor="ctr"/>
          <a:lstStyle/>
          <a:p>
            <a:endParaRPr lang="en-US"/>
          </a:p>
        </p:txBody>
      </p:sp>
      <p:sp>
        <p:nvSpPr>
          <p:cNvPr id="40966" name="Rectangle 7"/>
          <p:cNvSpPr>
            <a:spLocks noChangeArrowheads="1"/>
          </p:cNvSpPr>
          <p:nvPr/>
        </p:nvSpPr>
        <p:spPr bwMode="auto">
          <a:xfrm>
            <a:off x="4664075" y="4191000"/>
            <a:ext cx="4479925" cy="457200"/>
          </a:xfrm>
          <a:prstGeom prst="rect">
            <a:avLst/>
          </a:prstGeom>
          <a:noFill/>
          <a:ln w="9525">
            <a:noFill/>
            <a:miter lim="800000"/>
            <a:headEnd/>
            <a:tailEnd/>
          </a:ln>
        </p:spPr>
        <p:txBody>
          <a:bodyPr wrap="none">
            <a:spAutoFit/>
          </a:bodyPr>
          <a:lstStyle/>
          <a:p>
            <a:r>
              <a:rPr lang="en-US" dirty="0">
                <a:solidFill>
                  <a:schemeClr val="accent2"/>
                </a:solidFill>
              </a:rPr>
              <a:t>http://waterdata.usgs.gov/usa/nwi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119626" y="47625"/>
            <a:ext cx="8229600" cy="942975"/>
          </a:xfrm>
        </p:spPr>
        <p:txBody>
          <a:bodyPr/>
          <a:lstStyle/>
          <a:p>
            <a:pPr eaLnBrk="1" hangingPunct="1"/>
            <a:r>
              <a:rPr lang="en-US" sz="3200" dirty="0" smtClean="0">
                <a:solidFill>
                  <a:schemeClr val="accent2"/>
                </a:solidFill>
              </a:rPr>
              <a:t>USGS Water Watch</a:t>
            </a:r>
          </a:p>
        </p:txBody>
      </p:sp>
      <p:sp>
        <p:nvSpPr>
          <p:cNvPr id="41987" name="Text Box 3"/>
          <p:cNvSpPr txBox="1">
            <a:spLocks noChangeArrowheads="1"/>
          </p:cNvSpPr>
          <p:nvPr/>
        </p:nvSpPr>
        <p:spPr bwMode="auto">
          <a:xfrm>
            <a:off x="1524000" y="5791200"/>
            <a:ext cx="6805613" cy="457200"/>
          </a:xfrm>
          <a:prstGeom prst="rect">
            <a:avLst/>
          </a:prstGeom>
          <a:noFill/>
          <a:ln w="9525">
            <a:noFill/>
            <a:miter lim="800000"/>
            <a:headEnd/>
            <a:tailEnd/>
          </a:ln>
        </p:spPr>
        <p:txBody>
          <a:bodyPr wrap="none">
            <a:spAutoFit/>
          </a:bodyPr>
          <a:lstStyle/>
          <a:p>
            <a:r>
              <a:rPr lang="en-US" dirty="0"/>
              <a:t>Web access to USGS water resources data in real time</a:t>
            </a:r>
          </a:p>
        </p:txBody>
      </p:sp>
      <p:sp>
        <p:nvSpPr>
          <p:cNvPr id="41989" name="Rectangle 8"/>
          <p:cNvSpPr>
            <a:spLocks noChangeArrowheads="1"/>
          </p:cNvSpPr>
          <p:nvPr/>
        </p:nvSpPr>
        <p:spPr bwMode="auto">
          <a:xfrm>
            <a:off x="2209800" y="6172200"/>
            <a:ext cx="4291559" cy="461665"/>
          </a:xfrm>
          <a:prstGeom prst="rect">
            <a:avLst/>
          </a:prstGeom>
          <a:noFill/>
          <a:ln w="9525">
            <a:noFill/>
            <a:miter lim="800000"/>
            <a:headEnd/>
            <a:tailEnd/>
          </a:ln>
        </p:spPr>
        <p:txBody>
          <a:bodyPr wrap="none">
            <a:spAutoFit/>
          </a:bodyPr>
          <a:lstStyle/>
          <a:p>
            <a:r>
              <a:rPr lang="en-US" dirty="0">
                <a:solidFill>
                  <a:schemeClr val="accent2"/>
                </a:solidFill>
                <a:hlinkClick r:id="rId2"/>
              </a:rPr>
              <a:t>http://</a:t>
            </a:r>
            <a:r>
              <a:rPr lang="en-US" dirty="0" smtClean="0">
                <a:solidFill>
                  <a:schemeClr val="accent2"/>
                </a:solidFill>
                <a:hlinkClick r:id="rId2"/>
              </a:rPr>
              <a:t>waterdata.usgs.gov/nwis/rt</a:t>
            </a:r>
            <a:r>
              <a:rPr lang="en-US" dirty="0" smtClean="0">
                <a:solidFill>
                  <a:schemeClr val="accent2"/>
                </a:solidFill>
              </a:rPr>
              <a:t> </a:t>
            </a:r>
            <a:endParaRPr lang="en-US" dirty="0">
              <a:solidFill>
                <a:schemeClr val="accent2"/>
              </a:solidFill>
            </a:endParaRPr>
          </a:p>
        </p:txBody>
      </p:sp>
      <p:pic>
        <p:nvPicPr>
          <p:cNvPr id="7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 y="2514600"/>
            <a:ext cx="2472118" cy="2726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stretch>
            <a:fillRect/>
          </a:stretch>
        </p:blipFill>
        <p:spPr>
          <a:xfrm>
            <a:off x="2640104" y="1137619"/>
            <a:ext cx="6151813" cy="4506561"/>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ChangeArrowheads="1"/>
          </p:cNvSpPr>
          <p:nvPr>
            <p:ph type="title"/>
          </p:nvPr>
        </p:nvSpPr>
        <p:spPr>
          <a:xfrm>
            <a:off x="381000" y="304800"/>
            <a:ext cx="9296400" cy="1185863"/>
          </a:xfrm>
        </p:spPr>
        <p:txBody>
          <a:bodyPr/>
          <a:lstStyle/>
          <a:p>
            <a:pPr eaLnBrk="1" hangingPunct="1"/>
            <a:r>
              <a:rPr lang="en-US" sz="3200" smtClean="0">
                <a:solidFill>
                  <a:schemeClr val="accent2"/>
                </a:solidFill>
              </a:rPr>
              <a:t>USGS National Water Information System</a:t>
            </a:r>
            <a:r>
              <a:rPr lang="en-US" sz="3200" smtClean="0">
                <a:solidFill>
                  <a:schemeClr val="bg1"/>
                </a:solidFill>
              </a:rPr>
              <a:t>.</a:t>
            </a:r>
            <a:endParaRPr lang="en-US" sz="3600" smtClean="0">
              <a:solidFill>
                <a:schemeClr val="bg1"/>
              </a:solidFill>
            </a:endParaRPr>
          </a:p>
        </p:txBody>
      </p:sp>
      <p:sp>
        <p:nvSpPr>
          <p:cNvPr id="2053" name="Rectangle 3"/>
          <p:cNvSpPr>
            <a:spLocks noGrp="1" noChangeArrowheads="1"/>
          </p:cNvSpPr>
          <p:nvPr>
            <p:ph type="body" idx="1"/>
          </p:nvPr>
        </p:nvSpPr>
        <p:spPr>
          <a:xfrm>
            <a:off x="1447800" y="1219200"/>
            <a:ext cx="6985000" cy="2514600"/>
          </a:xfrm>
        </p:spPr>
        <p:txBody>
          <a:bodyPr/>
          <a:lstStyle/>
          <a:p>
            <a:pPr eaLnBrk="1" hangingPunct="1">
              <a:lnSpc>
                <a:spcPct val="90000"/>
              </a:lnSpc>
            </a:pPr>
            <a:r>
              <a:rPr lang="en-US" smtClean="0"/>
              <a:t>Real-time and Historic Data</a:t>
            </a:r>
          </a:p>
          <a:p>
            <a:pPr lvl="1" eaLnBrk="1" hangingPunct="1">
              <a:lnSpc>
                <a:spcPct val="90000"/>
              </a:lnSpc>
            </a:pPr>
            <a:r>
              <a:rPr lang="en-US" sz="2000" smtClean="0"/>
              <a:t>Streamflow and stage</a:t>
            </a:r>
          </a:p>
          <a:p>
            <a:pPr lvl="1" eaLnBrk="1" hangingPunct="1">
              <a:lnSpc>
                <a:spcPct val="90000"/>
              </a:lnSpc>
            </a:pPr>
            <a:r>
              <a:rPr lang="en-US" sz="2000" smtClean="0"/>
              <a:t>Groundwater levels</a:t>
            </a:r>
          </a:p>
          <a:p>
            <a:pPr lvl="1" eaLnBrk="1" hangingPunct="1">
              <a:lnSpc>
                <a:spcPct val="90000"/>
              </a:lnSpc>
            </a:pPr>
            <a:r>
              <a:rPr lang="en-US" sz="2000" smtClean="0"/>
              <a:t>Water Quality</a:t>
            </a:r>
          </a:p>
          <a:p>
            <a:pPr lvl="1" eaLnBrk="1" hangingPunct="1">
              <a:lnSpc>
                <a:spcPct val="90000"/>
              </a:lnSpc>
            </a:pPr>
            <a:r>
              <a:rPr lang="en-US" sz="2000" smtClean="0"/>
              <a:t>Site information</a:t>
            </a:r>
          </a:p>
          <a:p>
            <a:pPr eaLnBrk="1" hangingPunct="1">
              <a:lnSpc>
                <a:spcPct val="90000"/>
              </a:lnSpc>
            </a:pPr>
            <a:r>
              <a:rPr lang="en-US" smtClean="0"/>
              <a:t>Tabular or Graphical Format</a:t>
            </a:r>
          </a:p>
        </p:txBody>
      </p:sp>
      <p:graphicFrame>
        <p:nvGraphicFramePr>
          <p:cNvPr id="2050" name="Object 4"/>
          <p:cNvGraphicFramePr>
            <a:graphicFrameLocks noChangeAspect="1"/>
          </p:cNvGraphicFramePr>
          <p:nvPr/>
        </p:nvGraphicFramePr>
        <p:xfrm>
          <a:off x="5105400" y="4038600"/>
          <a:ext cx="3352800" cy="2238375"/>
        </p:xfrm>
        <a:graphic>
          <a:graphicData uri="http://schemas.openxmlformats.org/presentationml/2006/ole">
            <mc:AlternateContent xmlns:mc="http://schemas.openxmlformats.org/markup-compatibility/2006">
              <mc:Choice xmlns:v="urn:schemas-microsoft-com:vml" Requires="v">
                <p:oleObj spid="_x0000_s2210" name="Bitmap Image" r:id="rId3" imgW="4374259" imgH="2918713" progId="Paint.Picture">
                  <p:embed/>
                </p:oleObj>
              </mc:Choice>
              <mc:Fallback>
                <p:oleObj name="Bitmap Image" r:id="rId3" imgW="4374259" imgH="2918713" progId="Paint.Picture">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4038600"/>
                        <a:ext cx="3352800"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051" name="Object 5"/>
          <p:cNvGraphicFramePr>
            <a:graphicFrameLocks noChangeAspect="1"/>
          </p:cNvGraphicFramePr>
          <p:nvPr/>
        </p:nvGraphicFramePr>
        <p:xfrm>
          <a:off x="1143000" y="4038600"/>
          <a:ext cx="3700463" cy="2220913"/>
        </p:xfrm>
        <a:graphic>
          <a:graphicData uri="http://schemas.openxmlformats.org/presentationml/2006/ole">
            <mc:AlternateContent xmlns:mc="http://schemas.openxmlformats.org/markup-compatibility/2006">
              <mc:Choice xmlns:v="urn:schemas-microsoft-com:vml" Requires="v">
                <p:oleObj spid="_x0000_s2211" name="Bitmap Image" r:id="rId5" imgW="3436918" imgH="1783235" progId="Paint.Picture">
                  <p:embed/>
                </p:oleObj>
              </mc:Choice>
              <mc:Fallback>
                <p:oleObj name="Bitmap Image" r:id="rId5" imgW="3436918" imgH="1783235" progId="Paint.Picture">
                  <p:embed/>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r="13533"/>
                      <a:stretch>
                        <a:fillRect/>
                      </a:stretch>
                    </p:blipFill>
                    <p:spPr bwMode="auto">
                      <a:xfrm>
                        <a:off x="1143000" y="4038600"/>
                        <a:ext cx="3700463" cy="222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0"/>
            <a:ext cx="8305800" cy="6975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0"/>
            <a:ext cx="7772400" cy="838200"/>
          </a:xfrm>
          <a:solidFill>
            <a:schemeClr val="bg1"/>
          </a:solidFill>
        </p:spPr>
        <p:txBody>
          <a:bodyPr/>
          <a:lstStyle/>
          <a:p>
            <a:r>
              <a:rPr lang="en-US" dirty="0">
                <a:hlinkClick r:id="rId3"/>
              </a:rPr>
              <a:t>http://water.weather.gov/ahps</a:t>
            </a:r>
            <a:r>
              <a:rPr lang="en-US" dirty="0" smtClean="0">
                <a:hlinkClick r:id="rId3"/>
              </a:rPr>
              <a:t>/</a:t>
            </a:r>
            <a:r>
              <a:rPr lang="en-US" dirty="0" smtClean="0"/>
              <a:t> </a:t>
            </a:r>
            <a:endParaRPr lang="en-US" dirty="0"/>
          </a:p>
        </p:txBody>
      </p:sp>
    </p:spTree>
    <p:extLst>
      <p:ext uri="{BB962C8B-B14F-4D97-AF65-F5344CB8AC3E}">
        <p14:creationId xmlns:p14="http://schemas.microsoft.com/office/powerpoint/2010/main" val="992996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027"/>
          <p:cNvSpPr>
            <a:spLocks noGrp="1" noChangeArrowheads="1"/>
          </p:cNvSpPr>
          <p:nvPr>
            <p:ph type="title"/>
          </p:nvPr>
        </p:nvSpPr>
        <p:spPr>
          <a:xfrm>
            <a:off x="530225" y="38100"/>
            <a:ext cx="7772400" cy="830640"/>
          </a:xfrm>
        </p:spPr>
        <p:txBody>
          <a:bodyPr/>
          <a:lstStyle/>
          <a:p>
            <a:pPr eaLnBrk="1" hangingPunct="1"/>
            <a:r>
              <a:rPr lang="en-US" sz="3600" dirty="0" smtClean="0"/>
              <a:t>Watershed Hierarchy</a:t>
            </a:r>
          </a:p>
        </p:txBody>
      </p:sp>
      <p:grpSp>
        <p:nvGrpSpPr>
          <p:cNvPr id="4" name="Group 3"/>
          <p:cNvGrpSpPr/>
          <p:nvPr/>
        </p:nvGrpSpPr>
        <p:grpSpPr>
          <a:xfrm>
            <a:off x="6601025" y="2051003"/>
            <a:ext cx="2211387" cy="3692525"/>
            <a:chOff x="6248400" y="1565275"/>
            <a:chExt cx="3354387" cy="3692525"/>
          </a:xfrm>
        </p:grpSpPr>
        <p:sp>
          <p:nvSpPr>
            <p:cNvPr id="10242" name="Line 1026"/>
            <p:cNvSpPr>
              <a:spLocks noChangeShapeType="1"/>
            </p:cNvSpPr>
            <p:nvPr/>
          </p:nvSpPr>
          <p:spPr bwMode="auto">
            <a:xfrm>
              <a:off x="7513637" y="1828800"/>
              <a:ext cx="0" cy="3429000"/>
            </a:xfrm>
            <a:prstGeom prst="line">
              <a:avLst/>
            </a:prstGeom>
            <a:noFill/>
            <a:ln w="28575">
              <a:solidFill>
                <a:schemeClr val="tx2"/>
              </a:solidFill>
              <a:round/>
              <a:headEnd/>
              <a:tailEnd type="triangle" w="med" len="med"/>
            </a:ln>
          </p:spPr>
          <p:txBody>
            <a:bodyPr/>
            <a:lstStyle/>
            <a:p>
              <a:endParaRPr lang="en-US"/>
            </a:p>
          </p:txBody>
        </p:sp>
        <p:sp>
          <p:nvSpPr>
            <p:cNvPr id="10245" name="Oval 1029"/>
            <p:cNvSpPr>
              <a:spLocks noChangeArrowheads="1"/>
            </p:cNvSpPr>
            <p:nvPr/>
          </p:nvSpPr>
          <p:spPr bwMode="auto">
            <a:xfrm>
              <a:off x="6248400" y="1981200"/>
              <a:ext cx="2514600" cy="4572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46" name="Oval 1030"/>
            <p:cNvSpPr>
              <a:spLocks noChangeArrowheads="1"/>
            </p:cNvSpPr>
            <p:nvPr/>
          </p:nvSpPr>
          <p:spPr bwMode="auto">
            <a:xfrm>
              <a:off x="6478587" y="2681288"/>
              <a:ext cx="2057400" cy="3048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47" name="Oval 1031"/>
            <p:cNvSpPr>
              <a:spLocks noChangeArrowheads="1"/>
            </p:cNvSpPr>
            <p:nvPr/>
          </p:nvSpPr>
          <p:spPr bwMode="auto">
            <a:xfrm>
              <a:off x="6678612" y="3138488"/>
              <a:ext cx="1676400" cy="3048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48" name="Oval 1032"/>
            <p:cNvSpPr>
              <a:spLocks noChangeArrowheads="1"/>
            </p:cNvSpPr>
            <p:nvPr/>
          </p:nvSpPr>
          <p:spPr bwMode="auto">
            <a:xfrm>
              <a:off x="6827837" y="3657600"/>
              <a:ext cx="1358900" cy="2286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49" name="Oval 1033"/>
            <p:cNvSpPr>
              <a:spLocks noChangeArrowheads="1"/>
            </p:cNvSpPr>
            <p:nvPr/>
          </p:nvSpPr>
          <p:spPr bwMode="auto">
            <a:xfrm>
              <a:off x="6977062" y="4114800"/>
              <a:ext cx="1066800" cy="1524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50" name="Text Box 1034"/>
            <p:cNvSpPr txBox="1">
              <a:spLocks noChangeArrowheads="1"/>
            </p:cNvSpPr>
            <p:nvPr/>
          </p:nvSpPr>
          <p:spPr bwMode="auto">
            <a:xfrm>
              <a:off x="8351837" y="3581400"/>
              <a:ext cx="1057275" cy="457200"/>
            </a:xfrm>
            <a:prstGeom prst="rect">
              <a:avLst/>
            </a:prstGeom>
            <a:noFill/>
            <a:ln w="9525">
              <a:noFill/>
              <a:miter lim="800000"/>
              <a:headEnd/>
              <a:tailEnd/>
            </a:ln>
          </p:spPr>
          <p:txBody>
            <a:bodyPr wrap="none">
              <a:spAutoFit/>
            </a:bodyPr>
            <a:lstStyle/>
            <a:p>
              <a:r>
                <a:rPr lang="en-US" dirty="0">
                  <a:solidFill>
                    <a:schemeClr val="accent2"/>
                  </a:solidFill>
                </a:rPr>
                <a:t>8 HUC</a:t>
              </a:r>
            </a:p>
          </p:txBody>
        </p:sp>
        <p:sp>
          <p:nvSpPr>
            <p:cNvPr id="10251" name="Text Box 1035"/>
            <p:cNvSpPr txBox="1">
              <a:spLocks noChangeArrowheads="1"/>
            </p:cNvSpPr>
            <p:nvPr/>
          </p:nvSpPr>
          <p:spPr bwMode="auto">
            <a:xfrm>
              <a:off x="8656637" y="2590800"/>
              <a:ext cx="336550" cy="457200"/>
            </a:xfrm>
            <a:prstGeom prst="rect">
              <a:avLst/>
            </a:prstGeom>
            <a:noFill/>
            <a:ln w="9525">
              <a:noFill/>
              <a:miter lim="800000"/>
              <a:headEnd/>
              <a:tailEnd/>
            </a:ln>
          </p:spPr>
          <p:txBody>
            <a:bodyPr wrap="none">
              <a:spAutoFit/>
            </a:bodyPr>
            <a:lstStyle/>
            <a:p>
              <a:r>
                <a:rPr lang="en-US"/>
                <a:t>4</a:t>
              </a:r>
            </a:p>
          </p:txBody>
        </p:sp>
        <p:sp>
          <p:nvSpPr>
            <p:cNvPr id="10252" name="Text Box 1036"/>
            <p:cNvSpPr txBox="1">
              <a:spLocks noChangeArrowheads="1"/>
            </p:cNvSpPr>
            <p:nvPr/>
          </p:nvSpPr>
          <p:spPr bwMode="auto">
            <a:xfrm>
              <a:off x="8885237" y="2057400"/>
              <a:ext cx="336550" cy="457200"/>
            </a:xfrm>
            <a:prstGeom prst="rect">
              <a:avLst/>
            </a:prstGeom>
            <a:noFill/>
            <a:ln w="9525">
              <a:noFill/>
              <a:miter lim="800000"/>
              <a:headEnd/>
              <a:tailEnd/>
            </a:ln>
          </p:spPr>
          <p:txBody>
            <a:bodyPr wrap="none">
              <a:spAutoFit/>
            </a:bodyPr>
            <a:lstStyle/>
            <a:p>
              <a:r>
                <a:rPr lang="en-US"/>
                <a:t>2</a:t>
              </a:r>
            </a:p>
          </p:txBody>
        </p:sp>
        <p:sp>
          <p:nvSpPr>
            <p:cNvPr id="10253" name="Text Box 1037"/>
            <p:cNvSpPr txBox="1">
              <a:spLocks noChangeArrowheads="1"/>
            </p:cNvSpPr>
            <p:nvPr/>
          </p:nvSpPr>
          <p:spPr bwMode="auto">
            <a:xfrm>
              <a:off x="8504237" y="3124200"/>
              <a:ext cx="336550" cy="457200"/>
            </a:xfrm>
            <a:prstGeom prst="rect">
              <a:avLst/>
            </a:prstGeom>
            <a:noFill/>
            <a:ln w="9525">
              <a:noFill/>
              <a:miter lim="800000"/>
              <a:headEnd/>
              <a:tailEnd/>
            </a:ln>
          </p:spPr>
          <p:txBody>
            <a:bodyPr wrap="none">
              <a:spAutoFit/>
            </a:bodyPr>
            <a:lstStyle/>
            <a:p>
              <a:r>
                <a:rPr lang="en-US"/>
                <a:t>6</a:t>
              </a:r>
            </a:p>
          </p:txBody>
        </p:sp>
        <p:sp>
          <p:nvSpPr>
            <p:cNvPr id="10254" name="Text Box 1038"/>
            <p:cNvSpPr txBox="1">
              <a:spLocks noChangeArrowheads="1"/>
            </p:cNvSpPr>
            <p:nvPr/>
          </p:nvSpPr>
          <p:spPr bwMode="auto">
            <a:xfrm>
              <a:off x="7894637" y="4724400"/>
              <a:ext cx="1371600" cy="457200"/>
            </a:xfrm>
            <a:prstGeom prst="rect">
              <a:avLst/>
            </a:prstGeom>
            <a:noFill/>
            <a:ln w="9525">
              <a:noFill/>
              <a:miter lim="800000"/>
              <a:headEnd/>
              <a:tailEnd/>
            </a:ln>
          </p:spPr>
          <p:txBody>
            <a:bodyPr wrap="none">
              <a:spAutoFit/>
            </a:bodyPr>
            <a:lstStyle/>
            <a:p>
              <a:r>
                <a:rPr lang="en-US"/>
                <a:t>NHDPlus</a:t>
              </a:r>
            </a:p>
          </p:txBody>
        </p:sp>
        <p:sp>
          <p:nvSpPr>
            <p:cNvPr id="10255" name="Text Box 1039"/>
            <p:cNvSpPr txBox="1">
              <a:spLocks noChangeArrowheads="1"/>
            </p:cNvSpPr>
            <p:nvPr/>
          </p:nvSpPr>
          <p:spPr bwMode="auto">
            <a:xfrm>
              <a:off x="8199437" y="3962400"/>
              <a:ext cx="488950" cy="457200"/>
            </a:xfrm>
            <a:prstGeom prst="rect">
              <a:avLst/>
            </a:prstGeom>
            <a:noFill/>
            <a:ln w="9525">
              <a:noFill/>
              <a:miter lim="800000"/>
              <a:headEnd/>
              <a:tailEnd/>
            </a:ln>
          </p:spPr>
          <p:txBody>
            <a:bodyPr wrap="none">
              <a:spAutoFit/>
            </a:bodyPr>
            <a:lstStyle/>
            <a:p>
              <a:r>
                <a:rPr lang="en-US"/>
                <a:t>10</a:t>
              </a:r>
            </a:p>
          </p:txBody>
        </p:sp>
        <p:sp>
          <p:nvSpPr>
            <p:cNvPr id="10256" name="Oval 1040"/>
            <p:cNvSpPr>
              <a:spLocks noChangeArrowheads="1"/>
            </p:cNvSpPr>
            <p:nvPr/>
          </p:nvSpPr>
          <p:spPr bwMode="auto">
            <a:xfrm>
              <a:off x="7132637" y="4419600"/>
              <a:ext cx="762000" cy="152400"/>
            </a:xfrm>
            <a:prstGeom prst="ellipse">
              <a:avLst/>
            </a:prstGeom>
            <a:solidFill>
              <a:schemeClr val="accent1">
                <a:lumMod val="60000"/>
                <a:lumOff val="40000"/>
              </a:schemeClr>
            </a:solidFill>
            <a:ln w="9525">
              <a:solidFill>
                <a:schemeClr val="tx1"/>
              </a:solidFill>
              <a:round/>
              <a:headEnd/>
              <a:tailEnd/>
            </a:ln>
          </p:spPr>
          <p:txBody>
            <a:bodyPr wrap="none" anchor="ctr"/>
            <a:lstStyle/>
            <a:p>
              <a:endParaRPr lang="en-US"/>
            </a:p>
          </p:txBody>
        </p:sp>
        <p:sp>
          <p:nvSpPr>
            <p:cNvPr id="10257" name="Text Box 1041"/>
            <p:cNvSpPr txBox="1">
              <a:spLocks noChangeArrowheads="1"/>
            </p:cNvSpPr>
            <p:nvPr/>
          </p:nvSpPr>
          <p:spPr bwMode="auto">
            <a:xfrm>
              <a:off x="8047037" y="4343400"/>
              <a:ext cx="488950" cy="457200"/>
            </a:xfrm>
            <a:prstGeom prst="rect">
              <a:avLst/>
            </a:prstGeom>
            <a:noFill/>
            <a:ln w="9525">
              <a:noFill/>
              <a:miter lim="800000"/>
              <a:headEnd/>
              <a:tailEnd/>
            </a:ln>
          </p:spPr>
          <p:txBody>
            <a:bodyPr wrap="none">
              <a:spAutoFit/>
            </a:bodyPr>
            <a:lstStyle/>
            <a:p>
              <a:r>
                <a:rPr lang="en-US"/>
                <a:t>12</a:t>
              </a:r>
            </a:p>
          </p:txBody>
        </p:sp>
        <p:sp>
          <p:nvSpPr>
            <p:cNvPr id="10258" name="Oval 1042"/>
            <p:cNvSpPr>
              <a:spLocks noChangeArrowheads="1"/>
            </p:cNvSpPr>
            <p:nvPr/>
          </p:nvSpPr>
          <p:spPr bwMode="auto">
            <a:xfrm>
              <a:off x="7285037" y="4800600"/>
              <a:ext cx="457200" cy="762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63" name="Text Box 1047"/>
            <p:cNvSpPr txBox="1">
              <a:spLocks noChangeArrowheads="1"/>
            </p:cNvSpPr>
            <p:nvPr/>
          </p:nvSpPr>
          <p:spPr bwMode="auto">
            <a:xfrm>
              <a:off x="8564562" y="1565275"/>
              <a:ext cx="1038225" cy="457200"/>
            </a:xfrm>
            <a:prstGeom prst="rect">
              <a:avLst/>
            </a:prstGeom>
            <a:noFill/>
            <a:ln w="9525">
              <a:noFill/>
              <a:miter lim="800000"/>
              <a:headEnd/>
              <a:tailEnd/>
            </a:ln>
          </p:spPr>
          <p:txBody>
            <a:bodyPr wrap="none">
              <a:spAutoFit/>
            </a:bodyPr>
            <a:lstStyle/>
            <a:p>
              <a:r>
                <a:rPr lang="en-US"/>
                <a:t>Digit #</a:t>
              </a:r>
            </a:p>
          </p:txBody>
        </p:sp>
      </p:grpSp>
      <p:sp>
        <p:nvSpPr>
          <p:cNvPr id="2" name="Rectangle 1"/>
          <p:cNvSpPr/>
          <p:nvPr/>
        </p:nvSpPr>
        <p:spPr>
          <a:xfrm>
            <a:off x="488783" y="711060"/>
            <a:ext cx="8347075" cy="1107996"/>
          </a:xfrm>
          <a:prstGeom prst="rect">
            <a:avLst/>
          </a:prstGeom>
        </p:spPr>
        <p:txBody>
          <a:bodyPr wrap="square">
            <a:spAutoFit/>
          </a:bodyPr>
          <a:lstStyle/>
          <a:p>
            <a:r>
              <a:rPr lang="en-US" sz="2200" dirty="0"/>
              <a:t>Each hydrologic unit is identified by a unique hydrologic unit code (HUC) consisting of two to </a:t>
            </a:r>
            <a:r>
              <a:rPr lang="en-US" sz="2200" dirty="0" smtClean="0"/>
              <a:t>or more digits </a:t>
            </a:r>
            <a:r>
              <a:rPr lang="en-US" sz="2200" dirty="0"/>
              <a:t>based on the </a:t>
            </a:r>
            <a:r>
              <a:rPr lang="en-US" sz="2200" dirty="0" smtClean="0"/>
              <a:t>levels </a:t>
            </a:r>
            <a:r>
              <a:rPr lang="en-US" sz="2200" dirty="0"/>
              <a:t>of classification in the hydrologic unit system.</a:t>
            </a:r>
          </a:p>
        </p:txBody>
      </p:sp>
      <p:sp>
        <p:nvSpPr>
          <p:cNvPr id="5" name="Rectangle 4"/>
          <p:cNvSpPr/>
          <p:nvPr/>
        </p:nvSpPr>
        <p:spPr>
          <a:xfrm>
            <a:off x="344746" y="5816311"/>
            <a:ext cx="3156890" cy="461665"/>
          </a:xfrm>
          <a:prstGeom prst="rect">
            <a:avLst/>
          </a:prstGeom>
        </p:spPr>
        <p:txBody>
          <a:bodyPr wrap="none">
            <a:spAutoFit/>
          </a:bodyPr>
          <a:lstStyle/>
          <a:p>
            <a:r>
              <a:rPr lang="en-US" dirty="0" smtClean="0"/>
              <a:t>HAW HUC 8 </a:t>
            </a:r>
            <a:r>
              <a:rPr lang="en-US" b="1" dirty="0" smtClean="0"/>
              <a:t>03030002</a:t>
            </a:r>
            <a:endParaRPr lang="en-US" b="1" dirty="0"/>
          </a:p>
        </p:txBody>
      </p:sp>
      <p:sp>
        <p:nvSpPr>
          <p:cNvPr id="31" name="Rectangle 30"/>
          <p:cNvSpPr/>
          <p:nvPr/>
        </p:nvSpPr>
        <p:spPr>
          <a:xfrm>
            <a:off x="3797724" y="5872820"/>
            <a:ext cx="4695516" cy="461665"/>
          </a:xfrm>
          <a:prstGeom prst="rect">
            <a:avLst/>
          </a:prstGeom>
        </p:spPr>
        <p:txBody>
          <a:bodyPr wrap="none">
            <a:spAutoFit/>
          </a:bodyPr>
          <a:lstStyle/>
          <a:p>
            <a:r>
              <a:rPr lang="en-US" dirty="0" smtClean="0"/>
              <a:t>Little Creek HUC 12 </a:t>
            </a:r>
            <a:r>
              <a:rPr lang="en-US" b="1" dirty="0" smtClean="0"/>
              <a:t>030300020603</a:t>
            </a:r>
            <a:endParaRPr lang="en-US" b="1" dirty="0"/>
          </a:p>
        </p:txBody>
      </p:sp>
      <p:pic>
        <p:nvPicPr>
          <p:cNvPr id="6" name="Picture 5"/>
          <p:cNvPicPr>
            <a:picLocks noChangeAspect="1"/>
          </p:cNvPicPr>
          <p:nvPr/>
        </p:nvPicPr>
        <p:blipFill>
          <a:blip r:embed="rId2"/>
          <a:stretch>
            <a:fillRect/>
          </a:stretch>
        </p:blipFill>
        <p:spPr>
          <a:xfrm>
            <a:off x="574929" y="2235856"/>
            <a:ext cx="5853414" cy="3081520"/>
          </a:xfrm>
          <a:prstGeom prst="rect">
            <a:avLst/>
          </a:prstGeom>
          <a:ln>
            <a:solidFill>
              <a:schemeClr val="tx1"/>
            </a:solidFill>
          </a:ln>
        </p:spPr>
      </p:pic>
      <p:cxnSp>
        <p:nvCxnSpPr>
          <p:cNvPr id="7" name="Straight Arrow Connector 6"/>
          <p:cNvCxnSpPr>
            <a:stCxn id="5" idx="0"/>
          </p:cNvCxnSpPr>
          <p:nvPr/>
        </p:nvCxnSpPr>
        <p:spPr>
          <a:xfrm flipV="1">
            <a:off x="1923191" y="3929016"/>
            <a:ext cx="779639" cy="188729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flipV="1">
            <a:off x="4771552" y="3988476"/>
            <a:ext cx="410048" cy="188434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3000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74" y="24809"/>
            <a:ext cx="7772400" cy="889591"/>
          </a:xfrm>
        </p:spPr>
        <p:txBody>
          <a:bodyPr/>
          <a:lstStyle/>
          <a:p>
            <a:r>
              <a:rPr lang="en-US" dirty="0">
                <a:hlinkClick r:id="rId2"/>
              </a:rPr>
              <a:t>http://water.weather.gov/ahps</a:t>
            </a:r>
            <a:r>
              <a:rPr lang="en-US" dirty="0" smtClean="0">
                <a:hlinkClick r:id="rId2"/>
              </a:rPr>
              <a:t>/</a:t>
            </a:r>
            <a:r>
              <a:rPr lang="en-US" dirty="0" smtClean="0"/>
              <a:t> </a:t>
            </a:r>
            <a:endParaRPr lang="en-US" dirty="0"/>
          </a:p>
        </p:txBody>
      </p:sp>
      <p:pic>
        <p:nvPicPr>
          <p:cNvPr id="3" name="Picture 2"/>
          <p:cNvPicPr/>
          <p:nvPr/>
        </p:nvPicPr>
        <p:blipFill>
          <a:blip r:embed="rId3">
            <a:extLst>
              <a:ext uri="{28A0092B-C50C-407E-A947-70E740481C1C}">
                <a14:useLocalDpi xmlns:a14="http://schemas.microsoft.com/office/drawing/2010/main" val="0"/>
              </a:ext>
            </a:extLst>
          </a:blip>
          <a:srcRect/>
          <a:stretch>
            <a:fillRect/>
          </a:stretch>
        </p:blipFill>
        <p:spPr bwMode="auto">
          <a:xfrm>
            <a:off x="343341" y="1219200"/>
            <a:ext cx="8646162" cy="5514700"/>
          </a:xfrm>
          <a:prstGeom prst="rect">
            <a:avLst/>
          </a:prstGeom>
          <a:noFill/>
          <a:ln>
            <a:noFill/>
          </a:ln>
        </p:spPr>
      </p:pic>
    </p:spTree>
    <p:extLst>
      <p:ext uri="{BB962C8B-B14F-4D97-AF65-F5344CB8AC3E}">
        <p14:creationId xmlns:p14="http://schemas.microsoft.com/office/powerpoint/2010/main" val="6342191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738909"/>
            <a:ext cx="9091588" cy="6219681"/>
          </a:xfrm>
          <a:prstGeom prst="rect">
            <a:avLst/>
          </a:prstGeom>
        </p:spPr>
      </p:pic>
      <p:pic>
        <p:nvPicPr>
          <p:cNvPr id="5" name="Picture 4"/>
          <p:cNvPicPr>
            <a:picLocks noChangeAspect="1"/>
          </p:cNvPicPr>
          <p:nvPr/>
        </p:nvPicPr>
        <p:blipFill>
          <a:blip r:embed="rId3"/>
          <a:stretch>
            <a:fillRect/>
          </a:stretch>
        </p:blipFill>
        <p:spPr>
          <a:xfrm>
            <a:off x="0" y="0"/>
            <a:ext cx="5400675" cy="1771650"/>
          </a:xfrm>
          <a:prstGeom prst="rect">
            <a:avLst/>
          </a:prstGeom>
        </p:spPr>
      </p:pic>
      <p:sp>
        <p:nvSpPr>
          <p:cNvPr id="6" name="Title 1"/>
          <p:cNvSpPr>
            <a:spLocks noGrp="1"/>
          </p:cNvSpPr>
          <p:nvPr>
            <p:ph type="title"/>
          </p:nvPr>
        </p:nvSpPr>
        <p:spPr>
          <a:xfrm>
            <a:off x="2700337" y="1043709"/>
            <a:ext cx="5751945" cy="369455"/>
          </a:xfrm>
          <a:solidFill>
            <a:schemeClr val="bg1"/>
          </a:solidFill>
        </p:spPr>
        <p:txBody>
          <a:bodyPr/>
          <a:lstStyle/>
          <a:p>
            <a:r>
              <a:rPr lang="en-US" sz="2800" dirty="0">
                <a:hlinkClick r:id="rId4"/>
              </a:rPr>
              <a:t>http://enviroatlas.epa.gov/enviroatlas</a:t>
            </a:r>
            <a:r>
              <a:rPr lang="en-US" sz="2800" dirty="0" smtClean="0">
                <a:hlinkClick r:id="rId4"/>
              </a:rPr>
              <a:t>/</a:t>
            </a:r>
            <a:r>
              <a:rPr lang="en-US" sz="2800" dirty="0" smtClean="0"/>
              <a:t> </a:t>
            </a:r>
            <a:endParaRPr lang="en-US" sz="2800" dirty="0"/>
          </a:p>
        </p:txBody>
      </p:sp>
    </p:spTree>
    <p:extLst>
      <p:ext uri="{BB962C8B-B14F-4D97-AF65-F5344CB8AC3E}">
        <p14:creationId xmlns:p14="http://schemas.microsoft.com/office/powerpoint/2010/main" val="13389740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41748"/>
            <a:ext cx="7772400" cy="1143000"/>
          </a:xfrm>
        </p:spPr>
        <p:txBody>
          <a:bodyPr/>
          <a:lstStyle/>
          <a:p>
            <a:r>
              <a:rPr lang="en-US" dirty="0" err="1" smtClean="0"/>
              <a:t>EnviroAtlas</a:t>
            </a:r>
            <a:endParaRPr lang="en-US" dirty="0"/>
          </a:p>
        </p:txBody>
      </p:sp>
      <p:sp>
        <p:nvSpPr>
          <p:cNvPr id="3" name="TextBox 2"/>
          <p:cNvSpPr txBox="1"/>
          <p:nvPr/>
        </p:nvSpPr>
        <p:spPr>
          <a:xfrm>
            <a:off x="434109" y="1634839"/>
            <a:ext cx="6883616" cy="830997"/>
          </a:xfrm>
          <a:prstGeom prst="rect">
            <a:avLst/>
          </a:prstGeom>
          <a:noFill/>
        </p:spPr>
        <p:txBody>
          <a:bodyPr wrap="none" rtlCol="0">
            <a:spAutoFit/>
          </a:bodyPr>
          <a:lstStyle/>
          <a:p>
            <a:pPr marL="342900" indent="-342900">
              <a:buFont typeface="Arial" panose="020B0604020202020204" pitchFamily="34" charset="0"/>
              <a:buChar char="•"/>
            </a:pPr>
            <a:r>
              <a:rPr lang="en-US" dirty="0" smtClean="0"/>
              <a:t>All data is available for download</a:t>
            </a:r>
          </a:p>
          <a:p>
            <a:pPr marL="342900" indent="-342900">
              <a:buFont typeface="Arial" panose="020B0604020202020204" pitchFamily="34" charset="0"/>
              <a:buChar char="•"/>
            </a:pPr>
            <a:r>
              <a:rPr lang="en-US" dirty="0" smtClean="0"/>
              <a:t>Some data is available for download as web service</a:t>
            </a:r>
            <a:endParaRPr lang="en-US" dirty="0"/>
          </a:p>
        </p:txBody>
      </p:sp>
      <p:pic>
        <p:nvPicPr>
          <p:cNvPr id="6" name="Picture 5"/>
          <p:cNvPicPr>
            <a:picLocks noChangeAspect="1"/>
          </p:cNvPicPr>
          <p:nvPr/>
        </p:nvPicPr>
        <p:blipFill rotWithShape="1">
          <a:blip r:embed="rId2"/>
          <a:srcRect r="13430"/>
          <a:stretch/>
        </p:blipFill>
        <p:spPr>
          <a:xfrm>
            <a:off x="3657600" y="4067468"/>
            <a:ext cx="5458691" cy="2362200"/>
          </a:xfrm>
          <a:prstGeom prst="rect">
            <a:avLst/>
          </a:prstGeom>
        </p:spPr>
      </p:pic>
      <p:sp>
        <p:nvSpPr>
          <p:cNvPr id="7" name="Rectangle 6"/>
          <p:cNvSpPr/>
          <p:nvPr/>
        </p:nvSpPr>
        <p:spPr>
          <a:xfrm>
            <a:off x="8141854" y="5789196"/>
            <a:ext cx="632691" cy="2170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883563" y="5789196"/>
            <a:ext cx="1203037" cy="20520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446917" y="2615927"/>
            <a:ext cx="3429000" cy="3448050"/>
          </a:xfrm>
          <a:prstGeom prst="rect">
            <a:avLst/>
          </a:prstGeom>
        </p:spPr>
      </p:pic>
      <p:sp>
        <p:nvSpPr>
          <p:cNvPr id="5" name="Rectangle 4"/>
          <p:cNvSpPr/>
          <p:nvPr/>
        </p:nvSpPr>
        <p:spPr>
          <a:xfrm>
            <a:off x="2346036" y="4276439"/>
            <a:ext cx="1311564" cy="203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p:cNvCxnSpPr/>
          <p:nvPr/>
        </p:nvCxnSpPr>
        <p:spPr>
          <a:xfrm>
            <a:off x="3657600" y="4378039"/>
            <a:ext cx="2401455" cy="141115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478394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4"/>
          <p:cNvPicPr>
            <a:picLocks noChangeAspect="1" noChangeArrowheads="1"/>
          </p:cNvPicPr>
          <p:nvPr/>
        </p:nvPicPr>
        <p:blipFill>
          <a:blip r:embed="rId2" cstate="print"/>
          <a:srcRect/>
          <a:stretch>
            <a:fillRect/>
          </a:stretch>
        </p:blipFill>
        <p:spPr bwMode="auto">
          <a:xfrm>
            <a:off x="533400" y="228600"/>
            <a:ext cx="7848600" cy="6245225"/>
          </a:xfrm>
          <a:prstGeom prst="rect">
            <a:avLst/>
          </a:prstGeom>
          <a:noFill/>
          <a:ln w="9525">
            <a:noFill/>
            <a:miter lim="800000"/>
            <a:headEnd/>
            <a:tailEnd/>
          </a:ln>
        </p:spPr>
      </p:pic>
      <p:pic>
        <p:nvPicPr>
          <p:cNvPr id="52227" name="Picture 5"/>
          <p:cNvPicPr>
            <a:picLocks noChangeAspect="1" noChangeArrowheads="1"/>
          </p:cNvPicPr>
          <p:nvPr/>
        </p:nvPicPr>
        <p:blipFill>
          <a:blip r:embed="rId3" cstate="print"/>
          <a:srcRect/>
          <a:stretch>
            <a:fillRect/>
          </a:stretch>
        </p:blipFill>
        <p:spPr bwMode="auto">
          <a:xfrm>
            <a:off x="6019800" y="1600200"/>
            <a:ext cx="2838450" cy="4876800"/>
          </a:xfrm>
          <a:prstGeom prst="rect">
            <a:avLst/>
          </a:prstGeom>
          <a:noFill/>
          <a:ln w="9525">
            <a:noFill/>
            <a:miter lim="800000"/>
            <a:headEnd/>
            <a:tailEnd/>
          </a:ln>
        </p:spPr>
      </p:pic>
      <p:sp>
        <p:nvSpPr>
          <p:cNvPr id="52228" name="Rectangle 6"/>
          <p:cNvSpPr>
            <a:spLocks noChangeArrowheads="1"/>
          </p:cNvSpPr>
          <p:nvPr/>
        </p:nvSpPr>
        <p:spPr bwMode="auto">
          <a:xfrm>
            <a:off x="533400" y="4953000"/>
            <a:ext cx="4888711" cy="461665"/>
          </a:xfrm>
          <a:prstGeom prst="rect">
            <a:avLst/>
          </a:prstGeom>
          <a:noFill/>
          <a:ln w="9525">
            <a:noFill/>
            <a:miter lim="800000"/>
            <a:headEnd/>
            <a:tailEnd/>
          </a:ln>
        </p:spPr>
        <p:txBody>
          <a:bodyPr wrap="none">
            <a:spAutoFit/>
          </a:bodyPr>
          <a:lstStyle/>
          <a:p>
            <a:r>
              <a:rPr lang="en-US" dirty="0">
                <a:hlinkClick r:id="rId4"/>
              </a:rPr>
              <a:t>http://www.wcc.nrcs.usda.gov/snotel</a:t>
            </a:r>
            <a:r>
              <a:rPr lang="en-US" dirty="0" smtClean="0">
                <a:hlinkClick r:id="rId4"/>
              </a:rPr>
              <a:t>/</a:t>
            </a:r>
            <a:r>
              <a:rPr lang="en-US" dirty="0" smtClean="0"/>
              <a:t> </a:t>
            </a: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6200"/>
            <a:ext cx="9113720" cy="6553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62000" y="97134"/>
            <a:ext cx="7010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NOTEL System for Measuring Snow and Supporting Spring Runoff and Water Supply Forecasts </a:t>
            </a:r>
            <a:endParaRPr lang="en-US" dirty="0">
              <a:solidFill>
                <a:schemeClr val="tx1"/>
              </a:solidFill>
            </a:endParaRPr>
          </a:p>
        </p:txBody>
      </p:sp>
    </p:spTree>
    <p:extLst>
      <p:ext uri="{BB962C8B-B14F-4D97-AF65-F5344CB8AC3E}">
        <p14:creationId xmlns:p14="http://schemas.microsoft.com/office/powerpoint/2010/main" val="198199949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dtarb\Dave\etc\Photos\Carlisle_SNOTEL_Halfcovered_IMG_024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838200"/>
            <a:ext cx="7924800" cy="59436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800" y="152400"/>
            <a:ext cx="8229600" cy="792163"/>
          </a:xfrm>
          <a:solidFill>
            <a:schemeClr val="bg1"/>
          </a:solidFill>
        </p:spPr>
        <p:txBody>
          <a:bodyPr/>
          <a:lstStyle/>
          <a:p>
            <a:r>
              <a:rPr lang="en-US" dirty="0" smtClean="0"/>
              <a:t>USU Doc Daniels SNOTEL Site</a:t>
            </a:r>
            <a:endParaRPr lang="en-US" dirty="0"/>
          </a:p>
        </p:txBody>
      </p:sp>
    </p:spTree>
    <p:extLst>
      <p:ext uri="{BB962C8B-B14F-4D97-AF65-F5344CB8AC3E}">
        <p14:creationId xmlns:p14="http://schemas.microsoft.com/office/powerpoint/2010/main" val="28592721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1507148"/>
            <a:ext cx="6273800" cy="4705350"/>
          </a:xfrm>
          <a:prstGeom prst="rect">
            <a:avLst/>
          </a:prstGeom>
        </p:spPr>
      </p:pic>
      <p:sp>
        <p:nvSpPr>
          <p:cNvPr id="2" name="Title 1"/>
          <p:cNvSpPr>
            <a:spLocks noGrp="1"/>
          </p:cNvSpPr>
          <p:nvPr>
            <p:ph type="title"/>
          </p:nvPr>
        </p:nvSpPr>
        <p:spPr>
          <a:xfrm>
            <a:off x="457200" y="0"/>
            <a:ext cx="8229600" cy="1143000"/>
          </a:xfrm>
        </p:spPr>
        <p:txBody>
          <a:bodyPr/>
          <a:lstStyle/>
          <a:p>
            <a:r>
              <a:rPr lang="en-US" dirty="0" smtClean="0"/>
              <a:t>Measuring SW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6800" y="964223"/>
            <a:ext cx="4261338" cy="5681784"/>
          </a:xfrm>
          <a:prstGeom prst="rect">
            <a:avLst/>
          </a:prstGeom>
        </p:spPr>
      </p:pic>
    </p:spTree>
    <p:extLst>
      <p:ext uri="{BB962C8B-B14F-4D97-AF65-F5344CB8AC3E}">
        <p14:creationId xmlns:p14="http://schemas.microsoft.com/office/powerpoint/2010/main" val="389275099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190500"/>
            <a:ext cx="8401050" cy="64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114300"/>
            <a:ext cx="7772400" cy="571500"/>
          </a:xfrm>
          <a:solidFill>
            <a:schemeClr val="bg1"/>
          </a:solidFill>
        </p:spPr>
        <p:txBody>
          <a:bodyPr/>
          <a:lstStyle/>
          <a:p>
            <a:r>
              <a:rPr lang="en-US" dirty="0" smtClean="0">
                <a:hlinkClick r:id="rId3"/>
              </a:rPr>
              <a:t>http://www.cbrfc.noaa.gov</a:t>
            </a:r>
            <a:r>
              <a:rPr lang="en-US" dirty="0" smtClean="0"/>
              <a:t> </a:t>
            </a:r>
            <a:endParaRPr lang="en-US" dirty="0"/>
          </a:p>
        </p:txBody>
      </p:sp>
    </p:spTree>
    <p:extLst>
      <p:ext uri="{BB962C8B-B14F-4D97-AF65-F5344CB8AC3E}">
        <p14:creationId xmlns:p14="http://schemas.microsoft.com/office/powerpoint/2010/main" val="42708494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52849"/>
            <a:ext cx="8153400" cy="6913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152400"/>
            <a:ext cx="7772400" cy="685800"/>
          </a:xfrm>
          <a:solidFill>
            <a:schemeClr val="bg1"/>
          </a:solidFill>
        </p:spPr>
        <p:txBody>
          <a:bodyPr/>
          <a:lstStyle/>
          <a:p>
            <a:r>
              <a:rPr lang="en-US" dirty="0" smtClean="0"/>
              <a:t>CBRFC SNOTEL Ensemble</a:t>
            </a:r>
            <a:endParaRPr lang="en-US" dirty="0"/>
          </a:p>
        </p:txBody>
      </p:sp>
      <p:sp>
        <p:nvSpPr>
          <p:cNvPr id="3" name="Rectangle 2"/>
          <p:cNvSpPr/>
          <p:nvPr/>
        </p:nvSpPr>
        <p:spPr>
          <a:xfrm>
            <a:off x="416442" y="6391019"/>
            <a:ext cx="8387316" cy="461665"/>
          </a:xfrm>
          <a:prstGeom prst="rect">
            <a:avLst/>
          </a:prstGeom>
          <a:solidFill>
            <a:schemeClr val="bg1"/>
          </a:solidFill>
        </p:spPr>
        <p:txBody>
          <a:bodyPr wrap="square">
            <a:spAutoFit/>
          </a:bodyPr>
          <a:lstStyle/>
          <a:p>
            <a:r>
              <a:rPr lang="en-US" u="sng" dirty="0">
                <a:hlinkClick r:id="rId3"/>
              </a:rPr>
              <a:t>http://www.cbrfc.noaa.gov/station/sweplot/sweplot.cgi?tglu1</a:t>
            </a:r>
            <a:endParaRPr lang="en-US" dirty="0"/>
          </a:p>
        </p:txBody>
      </p:sp>
    </p:spTree>
    <p:extLst>
      <p:ext uri="{BB962C8B-B14F-4D97-AF65-F5344CB8AC3E}">
        <p14:creationId xmlns:p14="http://schemas.microsoft.com/office/powerpoint/2010/main" val="38734391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33600" y="2224025"/>
            <a:ext cx="5510426" cy="4398948"/>
          </a:xfrm>
          <a:prstGeom prst="rect">
            <a:avLst/>
          </a:prstGeom>
          <a:ln w="3175">
            <a:solidFill>
              <a:schemeClr val="bg1">
                <a:lumMod val="65000"/>
              </a:schemeClr>
            </a:solidFill>
          </a:ln>
        </p:spPr>
      </p:pic>
      <p:pic>
        <p:nvPicPr>
          <p:cNvPr id="4" name="Picture 3"/>
          <p:cNvPicPr>
            <a:picLocks noChangeAspect="1"/>
          </p:cNvPicPr>
          <p:nvPr/>
        </p:nvPicPr>
        <p:blipFill>
          <a:blip r:embed="rId3"/>
          <a:stretch>
            <a:fillRect/>
          </a:stretch>
        </p:blipFill>
        <p:spPr>
          <a:xfrm>
            <a:off x="1295400" y="172669"/>
            <a:ext cx="7043737" cy="1596118"/>
          </a:xfrm>
          <a:prstGeom prst="rect">
            <a:avLst/>
          </a:prstGeom>
        </p:spPr>
      </p:pic>
      <p:sp>
        <p:nvSpPr>
          <p:cNvPr id="5" name="TextBox 4"/>
          <p:cNvSpPr txBox="1"/>
          <p:nvPr/>
        </p:nvSpPr>
        <p:spPr>
          <a:xfrm>
            <a:off x="631955" y="1768787"/>
            <a:ext cx="8370625" cy="461665"/>
          </a:xfrm>
          <a:prstGeom prst="rect">
            <a:avLst/>
          </a:prstGeom>
          <a:noFill/>
        </p:spPr>
        <p:txBody>
          <a:bodyPr wrap="none" rtlCol="0">
            <a:spAutoFit/>
          </a:bodyPr>
          <a:lstStyle/>
          <a:p>
            <a:r>
              <a:rPr lang="en-US" dirty="0" smtClean="0"/>
              <a:t>Texas Natural Resource </a:t>
            </a:r>
            <a:r>
              <a:rPr lang="en-US" dirty="0"/>
              <a:t>Information System  </a:t>
            </a:r>
            <a:r>
              <a:rPr lang="en-US" dirty="0">
                <a:hlinkClick r:id="rId4"/>
              </a:rPr>
              <a:t>http://www.tnris.org</a:t>
            </a:r>
            <a:r>
              <a:rPr lang="en-US" dirty="0" smtClean="0">
                <a:hlinkClick r:id="rId4"/>
              </a:rPr>
              <a:t>/</a:t>
            </a:r>
            <a:r>
              <a:rPr lang="en-US" dirty="0" smtClean="0"/>
              <a:t> </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26"/>
          <p:cNvSpPr>
            <a:spLocks noGrp="1" noChangeArrowheads="1"/>
          </p:cNvSpPr>
          <p:nvPr>
            <p:ph type="title"/>
          </p:nvPr>
        </p:nvSpPr>
        <p:spPr>
          <a:xfrm>
            <a:off x="609600" y="228600"/>
            <a:ext cx="8077200" cy="1065213"/>
          </a:xfrm>
        </p:spPr>
        <p:txBody>
          <a:bodyPr/>
          <a:lstStyle/>
          <a:p>
            <a:pPr eaLnBrk="1" hangingPunct="1"/>
            <a:r>
              <a:rPr lang="en-US" sz="3200" dirty="0" smtClean="0"/>
              <a:t>Hydrologic Unit Code Watersheds</a:t>
            </a:r>
          </a:p>
        </p:txBody>
      </p:sp>
      <p:sp>
        <p:nvSpPr>
          <p:cNvPr id="9219" name="Text Box 1028"/>
          <p:cNvSpPr txBox="1">
            <a:spLocks noChangeArrowheads="1"/>
          </p:cNvSpPr>
          <p:nvPr/>
        </p:nvSpPr>
        <p:spPr bwMode="auto">
          <a:xfrm>
            <a:off x="1676400" y="1219200"/>
            <a:ext cx="7186583" cy="523220"/>
          </a:xfrm>
          <a:prstGeom prst="rect">
            <a:avLst/>
          </a:prstGeom>
          <a:noFill/>
          <a:ln w="9525">
            <a:noFill/>
            <a:miter lim="800000"/>
            <a:headEnd/>
            <a:tailEnd/>
          </a:ln>
        </p:spPr>
        <p:txBody>
          <a:bodyPr wrap="none">
            <a:spAutoFit/>
          </a:bodyPr>
          <a:lstStyle/>
          <a:p>
            <a:r>
              <a:rPr lang="en-US" sz="2800" dirty="0"/>
              <a:t>~ 2000 </a:t>
            </a:r>
            <a:r>
              <a:rPr lang="en-US" sz="2800" dirty="0" smtClean="0"/>
              <a:t>HUC 8 for </a:t>
            </a:r>
            <a:r>
              <a:rPr lang="en-US" sz="2800" dirty="0"/>
              <a:t>US, about the size of counties</a:t>
            </a:r>
          </a:p>
        </p:txBody>
      </p:sp>
      <p:pic>
        <p:nvPicPr>
          <p:cNvPr id="9220" name="Picture 1029" descr="huc8"/>
          <p:cNvPicPr>
            <a:picLocks noChangeAspect="1" noChangeArrowheads="1"/>
          </p:cNvPicPr>
          <p:nvPr/>
        </p:nvPicPr>
        <p:blipFill>
          <a:blip r:embed="rId2" cstate="print"/>
          <a:srcRect/>
          <a:stretch>
            <a:fillRect/>
          </a:stretch>
        </p:blipFill>
        <p:spPr bwMode="auto">
          <a:xfrm>
            <a:off x="1752600" y="1981200"/>
            <a:ext cx="5770563" cy="3806825"/>
          </a:xfrm>
          <a:prstGeom prst="rect">
            <a:avLst/>
          </a:prstGeom>
          <a:noFill/>
          <a:ln w="9525">
            <a:noFill/>
            <a:miter lim="800000"/>
            <a:headEnd/>
            <a:tailEnd/>
          </a:ln>
        </p:spPr>
      </p:pic>
    </p:spTree>
  </p:cSld>
  <p:clrMapOvr>
    <a:masterClrMapping/>
  </p:clrMapOvr>
  <p:transition advTm="31247"/>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533400"/>
          </a:xfrm>
        </p:spPr>
        <p:txBody>
          <a:bodyPr/>
          <a:lstStyle/>
          <a:p>
            <a:r>
              <a:rPr lang="en-US" dirty="0" smtClean="0"/>
              <a:t>TWDB </a:t>
            </a:r>
            <a:r>
              <a:rPr lang="en-US" sz="2400" dirty="0">
                <a:hlinkClick r:id="rId2"/>
              </a:rPr>
              <a:t>http://www.twdb.state.tx.us/mapping/gisdata.asp</a:t>
            </a:r>
            <a:endParaRPr lang="en-US" sz="2400" dirty="0"/>
          </a:p>
        </p:txBody>
      </p:sp>
      <p:pic>
        <p:nvPicPr>
          <p:cNvPr id="3" name="Picture 2"/>
          <p:cNvPicPr>
            <a:picLocks noChangeAspect="1"/>
          </p:cNvPicPr>
          <p:nvPr/>
        </p:nvPicPr>
        <p:blipFill>
          <a:blip r:embed="rId3"/>
          <a:stretch>
            <a:fillRect/>
          </a:stretch>
        </p:blipFill>
        <p:spPr>
          <a:xfrm>
            <a:off x="1066800" y="1524000"/>
            <a:ext cx="7505700" cy="5093153"/>
          </a:xfrm>
          <a:prstGeom prst="rect">
            <a:avLst/>
          </a:prstGeom>
          <a:ln w="3175">
            <a:solidFill>
              <a:schemeClr val="bg1">
                <a:lumMod val="65000"/>
              </a:schemeClr>
            </a:solidFill>
          </a:ln>
        </p:spPr>
      </p:pic>
    </p:spTree>
    <p:extLst>
      <p:ext uri="{BB962C8B-B14F-4D97-AF65-F5344CB8AC3E}">
        <p14:creationId xmlns:p14="http://schemas.microsoft.com/office/powerpoint/2010/main" val="355323939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7772400" cy="914400"/>
          </a:xfrm>
        </p:spPr>
        <p:txBody>
          <a:bodyPr/>
          <a:lstStyle/>
          <a:p>
            <a:r>
              <a:rPr lang="en-US" dirty="0" smtClean="0">
                <a:hlinkClick r:id="rId2"/>
              </a:rPr>
              <a:t>http://gis.utah.gov</a:t>
            </a:r>
            <a:r>
              <a:rPr lang="en-US" dirty="0" smtClean="0"/>
              <a:t> </a:t>
            </a:r>
            <a:endParaRPr lang="en-US"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7116"/>
          <a:stretch/>
        </p:blipFill>
        <p:spPr bwMode="auto">
          <a:xfrm>
            <a:off x="0" y="609600"/>
            <a:ext cx="9144000" cy="6248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876008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57175"/>
            <a:ext cx="7695470" cy="545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533400" y="152400"/>
            <a:ext cx="7858125" cy="685800"/>
          </a:xfrm>
          <a:solidFill>
            <a:schemeClr val="bg1"/>
          </a:solidFill>
        </p:spPr>
        <p:txBody>
          <a:bodyPr/>
          <a:lstStyle/>
          <a:p>
            <a:r>
              <a:rPr lang="en-US" dirty="0" smtClean="0"/>
              <a:t>Utah Terrain </a:t>
            </a:r>
            <a:r>
              <a:rPr lang="en-US" dirty="0" err="1" smtClean="0"/>
              <a:t>Basemap</a:t>
            </a:r>
            <a:endParaRPr lang="en-US" dirty="0"/>
          </a:p>
        </p:txBody>
      </p:sp>
      <p:sp>
        <p:nvSpPr>
          <p:cNvPr id="4" name="Rectangle 3"/>
          <p:cNvSpPr/>
          <p:nvPr/>
        </p:nvSpPr>
        <p:spPr>
          <a:xfrm>
            <a:off x="304800" y="5715000"/>
            <a:ext cx="8686800" cy="1200329"/>
          </a:xfrm>
          <a:prstGeom prst="rect">
            <a:avLst/>
          </a:prstGeom>
        </p:spPr>
        <p:txBody>
          <a:bodyPr wrap="square">
            <a:spAutoFit/>
          </a:bodyPr>
          <a:lstStyle/>
          <a:p>
            <a:r>
              <a:rPr lang="en-US" dirty="0" smtClean="0">
                <a:solidFill>
                  <a:srgbClr val="000000"/>
                </a:solidFill>
              </a:rPr>
              <a:t>To use as a </a:t>
            </a:r>
            <a:r>
              <a:rPr lang="en-US" dirty="0" err="1" smtClean="0">
                <a:solidFill>
                  <a:srgbClr val="000000"/>
                </a:solidFill>
              </a:rPr>
              <a:t>basemap</a:t>
            </a:r>
            <a:r>
              <a:rPr lang="en-US" dirty="0" smtClean="0">
                <a:solidFill>
                  <a:srgbClr val="000000"/>
                </a:solidFill>
              </a:rPr>
              <a:t> in ArcGIS see instructions at</a:t>
            </a:r>
            <a:endParaRPr lang="en-US" dirty="0" smtClean="0">
              <a:solidFill>
                <a:srgbClr val="000000"/>
              </a:solidFill>
              <a:hlinkClick r:id=""/>
            </a:endParaRPr>
          </a:p>
          <a:p>
            <a:r>
              <a:rPr lang="en-US" dirty="0" smtClean="0">
                <a:solidFill>
                  <a:srgbClr val="000000"/>
                </a:solidFill>
                <a:hlinkClick r:id=""/>
              </a:rPr>
              <a:t>http</a:t>
            </a:r>
            <a:r>
              <a:rPr lang="en-US" dirty="0">
                <a:solidFill>
                  <a:srgbClr val="000000"/>
                </a:solidFill>
                <a:hlinkClick r:id="rId3"/>
              </a:rPr>
              <a:t>://</a:t>
            </a:r>
            <a:r>
              <a:rPr lang="en-US" dirty="0" smtClean="0">
                <a:solidFill>
                  <a:srgbClr val="000000"/>
                </a:solidFill>
                <a:hlinkClick r:id="rId3"/>
              </a:rPr>
              <a:t>gis.utah.gov/map-services/new-utah-terrain-base-map-and-cached-tile-service-available</a:t>
            </a:r>
            <a:r>
              <a:rPr lang="en-US" dirty="0" smtClean="0">
                <a:solidFill>
                  <a:srgbClr val="000000"/>
                </a:solidFill>
              </a:rPr>
              <a:t> </a:t>
            </a:r>
            <a:endParaRPr lang="en-US" dirty="0">
              <a:solidFill>
                <a:srgbClr val="000000"/>
              </a:solidFill>
            </a:endParaRPr>
          </a:p>
        </p:txBody>
      </p:sp>
    </p:spTree>
    <p:extLst>
      <p:ext uri="{BB962C8B-B14F-4D97-AF65-F5344CB8AC3E}">
        <p14:creationId xmlns:p14="http://schemas.microsoft.com/office/powerpoint/2010/main" val="245665361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894091"/>
            <a:ext cx="7667625" cy="5531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533400" y="152400"/>
            <a:ext cx="7858125" cy="685800"/>
          </a:xfrm>
          <a:prstGeom prst="rect">
            <a:avLst/>
          </a:prstGeom>
          <a:solidFill>
            <a:schemeClr val="bg1"/>
          </a:solid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r>
              <a:rPr lang="en-US" sz="4000" dirty="0" smtClean="0"/>
              <a:t>Utah GIS Portal Download GIS Data</a:t>
            </a:r>
            <a:endParaRPr lang="en-US" sz="4000" dirty="0"/>
          </a:p>
        </p:txBody>
      </p:sp>
      <p:sp>
        <p:nvSpPr>
          <p:cNvPr id="2" name="Rectangle 1"/>
          <p:cNvSpPr/>
          <p:nvPr/>
        </p:nvSpPr>
        <p:spPr>
          <a:xfrm>
            <a:off x="3505200" y="6375219"/>
            <a:ext cx="3314690" cy="461665"/>
          </a:xfrm>
          <a:prstGeom prst="rect">
            <a:avLst/>
          </a:prstGeom>
        </p:spPr>
        <p:txBody>
          <a:bodyPr wrap="none">
            <a:spAutoFit/>
          </a:bodyPr>
          <a:lstStyle/>
          <a:p>
            <a:r>
              <a:rPr lang="en-US"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rPr>
              <a:t>http://gis.utah.gov/data/</a:t>
            </a:r>
            <a:endParaRPr lang="en-US" dirty="0"/>
          </a:p>
        </p:txBody>
      </p:sp>
    </p:spTree>
    <p:extLst>
      <p:ext uri="{BB962C8B-B14F-4D97-AF65-F5344CB8AC3E}">
        <p14:creationId xmlns:p14="http://schemas.microsoft.com/office/powerpoint/2010/main" val="141883119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8325" y="137519"/>
            <a:ext cx="5324475" cy="6644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819275" y="6320135"/>
            <a:ext cx="5562600" cy="461665"/>
          </a:xfrm>
          <a:prstGeom prst="rect">
            <a:avLst/>
          </a:prstGeom>
          <a:solidFill>
            <a:schemeClr val="bg1"/>
          </a:solidFill>
        </p:spPr>
        <p:txBody>
          <a:bodyPr wrap="square">
            <a:spAutoFit/>
          </a:bodyPr>
          <a:lstStyle/>
          <a:p>
            <a:r>
              <a:rPr lang="en-US" u="sng" dirty="0">
                <a:hlinkClick r:id="rId3"/>
              </a:rPr>
              <a:t>http://geology.utah.gov/maps/gis/index.htm</a:t>
            </a:r>
            <a:endParaRPr lang="en-US" dirty="0"/>
          </a:p>
        </p:txBody>
      </p:sp>
    </p:spTree>
    <p:extLst>
      <p:ext uri="{BB962C8B-B14F-4D97-AF65-F5344CB8AC3E}">
        <p14:creationId xmlns:p14="http://schemas.microsoft.com/office/powerpoint/2010/main" val="152129643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4"/>
          <p:cNvPicPr>
            <a:picLocks noChangeAspect="1" noChangeArrowheads="1"/>
          </p:cNvPicPr>
          <p:nvPr/>
        </p:nvPicPr>
        <p:blipFill>
          <a:blip r:embed="rId2" cstate="print"/>
          <a:srcRect/>
          <a:stretch>
            <a:fillRect/>
          </a:stretch>
        </p:blipFill>
        <p:spPr bwMode="auto">
          <a:xfrm>
            <a:off x="533400" y="381000"/>
            <a:ext cx="8305800" cy="5837238"/>
          </a:xfrm>
          <a:prstGeom prst="rect">
            <a:avLst/>
          </a:prstGeom>
          <a:noFill/>
          <a:ln w="9525">
            <a:noFill/>
            <a:miter lim="800000"/>
            <a:headEnd/>
            <a:tailEnd/>
          </a:ln>
        </p:spPr>
      </p:pic>
      <p:sp>
        <p:nvSpPr>
          <p:cNvPr id="51203" name="Rectangle 5"/>
          <p:cNvSpPr>
            <a:spLocks noChangeArrowheads="1"/>
          </p:cNvSpPr>
          <p:nvPr/>
        </p:nvSpPr>
        <p:spPr bwMode="auto">
          <a:xfrm>
            <a:off x="2971800" y="2971800"/>
            <a:ext cx="3341812" cy="461665"/>
          </a:xfrm>
          <a:prstGeom prst="rect">
            <a:avLst/>
          </a:prstGeom>
          <a:noFill/>
          <a:ln w="9525">
            <a:noFill/>
            <a:miter lim="800000"/>
            <a:headEnd/>
            <a:tailEnd/>
          </a:ln>
        </p:spPr>
        <p:txBody>
          <a:bodyPr wrap="none">
            <a:spAutoFit/>
          </a:bodyPr>
          <a:lstStyle/>
          <a:p>
            <a:r>
              <a:rPr lang="en-US" dirty="0">
                <a:hlinkClick r:id="rId3"/>
              </a:rPr>
              <a:t>http://www.wrcc.dri.edu</a:t>
            </a:r>
            <a:r>
              <a:rPr lang="en-US" dirty="0" smtClean="0">
                <a:hlinkClick r:id="rId3"/>
              </a:rPr>
              <a:t>/</a:t>
            </a:r>
            <a:r>
              <a:rPr lang="en-US" dirty="0" smtClean="0"/>
              <a:t> </a:t>
            </a:r>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533400"/>
          </a:xfrm>
        </p:spPr>
        <p:txBody>
          <a:bodyPr/>
          <a:lstStyle/>
          <a:p>
            <a:r>
              <a:rPr lang="en-US" dirty="0" smtClean="0"/>
              <a:t>Bear River Watershed</a:t>
            </a:r>
            <a:endParaRPr lang="en-US" dirty="0"/>
          </a:p>
        </p:txBody>
      </p:sp>
      <p:pic>
        <p:nvPicPr>
          <p:cNvPr id="3" name="Picture 2"/>
          <p:cNvPicPr>
            <a:picLocks noChangeAspect="1"/>
          </p:cNvPicPr>
          <p:nvPr/>
        </p:nvPicPr>
        <p:blipFill>
          <a:blip r:embed="rId2"/>
          <a:stretch>
            <a:fillRect/>
          </a:stretch>
        </p:blipFill>
        <p:spPr>
          <a:xfrm>
            <a:off x="666520" y="1697921"/>
            <a:ext cx="7920835" cy="4648200"/>
          </a:xfrm>
          <a:prstGeom prst="rect">
            <a:avLst/>
          </a:prstGeom>
        </p:spPr>
      </p:pic>
      <p:sp>
        <p:nvSpPr>
          <p:cNvPr id="4" name="Rectangle 3"/>
          <p:cNvSpPr/>
          <p:nvPr/>
        </p:nvSpPr>
        <p:spPr>
          <a:xfrm>
            <a:off x="2590800" y="1298297"/>
            <a:ext cx="5562600" cy="271869"/>
          </a:xfrm>
          <a:prstGeom prst="rect">
            <a:avLst/>
          </a:prstGeom>
        </p:spPr>
        <p:txBody>
          <a:bodyPr wrap="square">
            <a:spAutoFit/>
          </a:bodyPr>
          <a:lstStyle/>
          <a:p>
            <a:pPr marL="0" marR="963295">
              <a:lnSpc>
                <a:spcPts val="1370"/>
              </a:lnSpc>
              <a:spcBef>
                <a:spcPts val="385"/>
              </a:spcBef>
              <a:spcAft>
                <a:spcPts val="0"/>
              </a:spcAft>
            </a:pPr>
            <a:r>
              <a:rPr lang="en-US" spc="-25" dirty="0">
                <a:solidFill>
                  <a:srgbClr val="0000FF"/>
                </a:solidFill>
                <a:ea typeface="Times New Roman" panose="02020603050405020304" pitchFamily="18" charset="0"/>
                <a:cs typeface="Times New Roman" panose="02020603050405020304" pitchFamily="18" charset="0"/>
                <a:hlinkClick r:id="rId3"/>
              </a:rPr>
              <a:t>h</a:t>
            </a:r>
            <a:r>
              <a:rPr lang="en-US" dirty="0">
                <a:solidFill>
                  <a:srgbClr val="0000FF"/>
                </a:solidFill>
                <a:ea typeface="Times New Roman" panose="02020603050405020304" pitchFamily="18" charset="0"/>
                <a:cs typeface="Times New Roman" panose="02020603050405020304" pitchFamily="18" charset="0"/>
                <a:hlinkClick r:id="rId3"/>
              </a:rPr>
              <a:t>t</a:t>
            </a:r>
            <a:r>
              <a:rPr lang="en-US" spc="30" dirty="0">
                <a:solidFill>
                  <a:srgbClr val="0000FF"/>
                </a:solidFill>
                <a:ea typeface="Times New Roman" panose="02020603050405020304" pitchFamily="18" charset="0"/>
                <a:cs typeface="Times New Roman" panose="02020603050405020304" pitchFamily="18" charset="0"/>
                <a:hlinkClick r:id="rId3"/>
              </a:rPr>
              <a:t>t</a:t>
            </a:r>
            <a:r>
              <a:rPr lang="en-US" dirty="0">
                <a:solidFill>
                  <a:srgbClr val="0000FF"/>
                </a:solidFill>
                <a:ea typeface="Times New Roman" panose="02020603050405020304" pitchFamily="18" charset="0"/>
                <a:cs typeface="Times New Roman" panose="02020603050405020304" pitchFamily="18" charset="0"/>
                <a:hlinkClick r:id="rId3"/>
              </a:rPr>
              <a:t>p:</a:t>
            </a:r>
            <a:r>
              <a:rPr lang="en-US" spc="5" dirty="0">
                <a:solidFill>
                  <a:srgbClr val="0000FF"/>
                </a:solidFill>
                <a:ea typeface="Times New Roman" panose="02020603050405020304" pitchFamily="18" charset="0"/>
                <a:cs typeface="Times New Roman" panose="02020603050405020304" pitchFamily="18" charset="0"/>
                <a:hlinkClick r:id="rId3"/>
              </a:rPr>
              <a:t>/</a:t>
            </a:r>
            <a:r>
              <a:rPr lang="en-US" spc="-20" dirty="0">
                <a:solidFill>
                  <a:srgbClr val="0000FF"/>
                </a:solidFill>
                <a:ea typeface="Times New Roman" panose="02020603050405020304" pitchFamily="18" charset="0"/>
                <a:cs typeface="Times New Roman" panose="02020603050405020304" pitchFamily="18" charset="0"/>
                <a:hlinkClick r:id="rId3"/>
              </a:rPr>
              <a:t>/</a:t>
            </a:r>
            <a:r>
              <a:rPr lang="en-US" dirty="0">
                <a:solidFill>
                  <a:srgbClr val="0000FF"/>
                </a:solidFill>
                <a:ea typeface="Times New Roman" panose="02020603050405020304" pitchFamily="18" charset="0"/>
                <a:cs typeface="Times New Roman" panose="02020603050405020304" pitchFamily="18" charset="0"/>
                <a:hlinkClick r:id="rId3"/>
              </a:rPr>
              <a:t>w</a:t>
            </a:r>
            <a:r>
              <a:rPr lang="en-US" spc="-5" dirty="0">
                <a:solidFill>
                  <a:srgbClr val="0000FF"/>
                </a:solidFill>
                <a:ea typeface="Times New Roman" panose="02020603050405020304" pitchFamily="18" charset="0"/>
                <a:cs typeface="Times New Roman" panose="02020603050405020304" pitchFamily="18" charset="0"/>
                <a:hlinkClick r:id="rId3"/>
              </a:rPr>
              <a:t>w</a:t>
            </a:r>
            <a:r>
              <a:rPr lang="en-US" dirty="0">
                <a:solidFill>
                  <a:srgbClr val="0000FF"/>
                </a:solidFill>
                <a:ea typeface="Times New Roman" panose="02020603050405020304" pitchFamily="18" charset="0"/>
                <a:cs typeface="Times New Roman" panose="02020603050405020304" pitchFamily="18" charset="0"/>
                <a:hlinkClick r:id="rId3"/>
              </a:rPr>
              <a:t>w</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b</a:t>
            </a:r>
            <a:r>
              <a:rPr lang="en-US" spc="-5" dirty="0">
                <a:solidFill>
                  <a:srgbClr val="0000FF"/>
                </a:solidFill>
                <a:ea typeface="Times New Roman" panose="02020603050405020304" pitchFamily="18" charset="0"/>
                <a:cs typeface="Times New Roman" panose="02020603050405020304" pitchFamily="18" charset="0"/>
                <a:hlinkClick r:id="rId3"/>
              </a:rPr>
              <a:t>ea</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30"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dirty="0">
                <a:solidFill>
                  <a:srgbClr val="0000FF"/>
                </a:solidFill>
                <a:ea typeface="Times New Roman" panose="02020603050405020304" pitchFamily="18" charset="0"/>
                <a:cs typeface="Times New Roman" panose="02020603050405020304" pitchFamily="18" charset="0"/>
                <a:hlinkClick r:id="rId3"/>
              </a:rPr>
              <a:t>v</a:t>
            </a:r>
            <a:r>
              <a:rPr lang="en-US" spc="-5" dirty="0">
                <a:solidFill>
                  <a:srgbClr val="0000FF"/>
                </a:solidFill>
                <a:ea typeface="Times New Roman" panose="02020603050405020304" pitchFamily="18" charset="0"/>
                <a:cs typeface="Times New Roman" panose="02020603050405020304" pitchFamily="18" charset="0"/>
                <a:hlinkClick r:id="rId3"/>
              </a:rPr>
              <a:t>e</a:t>
            </a:r>
            <a:r>
              <a:rPr lang="en-US" spc="30"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dirty="0">
                <a:solidFill>
                  <a:srgbClr val="0000FF"/>
                </a:solidFill>
                <a:ea typeface="Times New Roman" panose="02020603050405020304" pitchFamily="18" charset="0"/>
                <a:cs typeface="Times New Roman" panose="02020603050405020304" pitchFamily="18" charset="0"/>
                <a:hlinkClick r:id="rId3"/>
              </a:rPr>
              <a:t>n</a:t>
            </a:r>
            <a:r>
              <a:rPr lang="en-US" spc="-40" dirty="0">
                <a:solidFill>
                  <a:srgbClr val="0000FF"/>
                </a:solidFill>
                <a:ea typeface="Times New Roman" panose="02020603050405020304" pitchFamily="18" charset="0"/>
                <a:cs typeface="Times New Roman" panose="02020603050405020304" pitchFamily="18" charset="0"/>
                <a:hlinkClick r:id="rId3"/>
              </a:rPr>
              <a:t>f</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dirty="0">
                <a:solidFill>
                  <a:srgbClr val="0000FF"/>
                </a:solidFill>
                <a:ea typeface="Times New Roman" panose="02020603050405020304" pitchFamily="18" charset="0"/>
                <a:cs typeface="Times New Roman" panose="02020603050405020304" pitchFamily="18" charset="0"/>
                <a:hlinkClick r:id="rId3"/>
              </a:rPr>
              <a:t>g/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7827340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eat Salt Lake Info System</a:t>
            </a:r>
            <a:endParaRPr lang="en-US" dirty="0"/>
          </a:p>
        </p:txBody>
      </p:sp>
      <p:pic>
        <p:nvPicPr>
          <p:cNvPr id="3" name="Picture 2"/>
          <p:cNvPicPr>
            <a:picLocks noChangeAspect="1"/>
          </p:cNvPicPr>
          <p:nvPr/>
        </p:nvPicPr>
        <p:blipFill>
          <a:blip r:embed="rId2"/>
          <a:stretch>
            <a:fillRect/>
          </a:stretch>
        </p:blipFill>
        <p:spPr>
          <a:xfrm>
            <a:off x="914400" y="1828800"/>
            <a:ext cx="7848600" cy="4858258"/>
          </a:xfrm>
          <a:prstGeom prst="rect">
            <a:avLst/>
          </a:prstGeom>
          <a:ln w="3175">
            <a:solidFill>
              <a:schemeClr val="bg1">
                <a:lumMod val="65000"/>
              </a:schemeClr>
            </a:solidFill>
          </a:ln>
        </p:spPr>
      </p:pic>
      <p:sp>
        <p:nvSpPr>
          <p:cNvPr id="4" name="Rectangle 3"/>
          <p:cNvSpPr/>
          <p:nvPr/>
        </p:nvSpPr>
        <p:spPr>
          <a:xfrm>
            <a:off x="3071934" y="1372643"/>
            <a:ext cx="3533531" cy="461665"/>
          </a:xfrm>
          <a:prstGeom prst="rect">
            <a:avLst/>
          </a:prstGeom>
        </p:spPr>
        <p:txBody>
          <a:bodyPr wrap="none">
            <a:spAutoFit/>
          </a:bodyPr>
          <a:lstStyle/>
          <a:p>
            <a:r>
              <a:rPr lang="en-US" spc="-25" dirty="0">
                <a:solidFill>
                  <a:srgbClr val="0000FF"/>
                </a:solidFill>
                <a:ea typeface="Times New Roman" panose="02020603050405020304" pitchFamily="18" charset="0"/>
                <a:cs typeface="Times New Roman" panose="02020603050405020304" pitchFamily="18" charset="0"/>
                <a:hlinkClick r:id="rId3"/>
              </a:rPr>
              <a:t>h</a:t>
            </a:r>
            <a:r>
              <a:rPr lang="en-US" dirty="0">
                <a:solidFill>
                  <a:srgbClr val="0000FF"/>
                </a:solidFill>
                <a:ea typeface="Times New Roman" panose="02020603050405020304" pitchFamily="18" charset="0"/>
                <a:cs typeface="Times New Roman" panose="02020603050405020304" pitchFamily="18" charset="0"/>
                <a:hlinkClick r:id="rId3"/>
              </a:rPr>
              <a:t>t</a:t>
            </a:r>
            <a:r>
              <a:rPr lang="en-US" spc="30" dirty="0">
                <a:solidFill>
                  <a:srgbClr val="0000FF"/>
                </a:solidFill>
                <a:ea typeface="Times New Roman" panose="02020603050405020304" pitchFamily="18" charset="0"/>
                <a:cs typeface="Times New Roman" panose="02020603050405020304" pitchFamily="18" charset="0"/>
                <a:hlinkClick r:id="rId3"/>
              </a:rPr>
              <a:t>t</a:t>
            </a:r>
            <a:r>
              <a:rPr lang="en-US" dirty="0">
                <a:solidFill>
                  <a:srgbClr val="0000FF"/>
                </a:solidFill>
                <a:ea typeface="Times New Roman" panose="02020603050405020304" pitchFamily="18" charset="0"/>
                <a:cs typeface="Times New Roman" panose="02020603050405020304" pitchFamily="18" charset="0"/>
                <a:hlinkClick r:id="rId3"/>
              </a:rPr>
              <a:t>p:</a:t>
            </a:r>
            <a:r>
              <a:rPr lang="en-US" spc="5" dirty="0">
                <a:solidFill>
                  <a:srgbClr val="0000FF"/>
                </a:solidFill>
                <a:ea typeface="Times New Roman" panose="02020603050405020304" pitchFamily="18" charset="0"/>
                <a:cs typeface="Times New Roman" panose="02020603050405020304" pitchFamily="18" charset="0"/>
                <a:hlinkClick r:id="rId3"/>
              </a:rPr>
              <a:t>/</a:t>
            </a:r>
            <a:r>
              <a:rPr lang="en-US" dirty="0">
                <a:solidFill>
                  <a:srgbClr val="0000FF"/>
                </a:solidFill>
                <a:ea typeface="Times New Roman" panose="02020603050405020304" pitchFamily="18" charset="0"/>
                <a:cs typeface="Times New Roman" panose="02020603050405020304" pitchFamily="18" charset="0"/>
                <a:hlinkClick r:id="rId3"/>
              </a:rPr>
              <a:t>/</a:t>
            </a:r>
            <a:r>
              <a:rPr lang="en-US" spc="-20" dirty="0">
                <a:solidFill>
                  <a:srgbClr val="0000FF"/>
                </a:solidFill>
                <a:ea typeface="Times New Roman" panose="02020603050405020304" pitchFamily="18" charset="0"/>
                <a:cs typeface="Times New Roman" panose="02020603050405020304" pitchFamily="18" charset="0"/>
                <a:hlinkClick r:id="rId3"/>
              </a:rPr>
              <a:t>g</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5" dirty="0">
                <a:solidFill>
                  <a:srgbClr val="0000FF"/>
                </a:solidFill>
                <a:ea typeface="Times New Roman" panose="02020603050405020304" pitchFamily="18" charset="0"/>
                <a:cs typeface="Times New Roman" panose="02020603050405020304" pitchFamily="18" charset="0"/>
                <a:hlinkClick r:id="rId3"/>
              </a:rPr>
              <a:t>ea</a:t>
            </a:r>
            <a:r>
              <a:rPr lang="en-US" spc="25" dirty="0">
                <a:solidFill>
                  <a:srgbClr val="0000FF"/>
                </a:solidFill>
                <a:ea typeface="Times New Roman" panose="02020603050405020304" pitchFamily="18" charset="0"/>
                <a:cs typeface="Times New Roman" panose="02020603050405020304" pitchFamily="18" charset="0"/>
                <a:hlinkClick r:id="rId3"/>
              </a:rPr>
              <a:t>t</a:t>
            </a:r>
            <a:r>
              <a:rPr lang="en-US" spc="-10" dirty="0">
                <a:solidFill>
                  <a:srgbClr val="0000FF"/>
                </a:solidFill>
                <a:ea typeface="Times New Roman" panose="02020603050405020304" pitchFamily="18" charset="0"/>
                <a:cs typeface="Times New Roman" panose="02020603050405020304" pitchFamily="18" charset="0"/>
                <a:hlinkClick r:id="rId3"/>
              </a:rPr>
              <a:t>s</a:t>
            </a:r>
            <a:r>
              <a:rPr lang="en-US" spc="-30" dirty="0">
                <a:solidFill>
                  <a:srgbClr val="0000FF"/>
                </a:solidFill>
                <a:ea typeface="Times New Roman" panose="02020603050405020304" pitchFamily="18" charset="0"/>
                <a:cs typeface="Times New Roman" panose="02020603050405020304" pitchFamily="18" charset="0"/>
                <a:hlinkClick r:id="rId3"/>
              </a:rPr>
              <a:t>a</a:t>
            </a:r>
            <a:r>
              <a:rPr lang="en-US" spc="-45" dirty="0">
                <a:solidFill>
                  <a:srgbClr val="0000FF"/>
                </a:solidFill>
                <a:ea typeface="Times New Roman" panose="02020603050405020304" pitchFamily="18" charset="0"/>
                <a:cs typeface="Times New Roman" panose="02020603050405020304" pitchFamily="18" charset="0"/>
                <a:hlinkClick r:id="rId3"/>
              </a:rPr>
              <a:t>l</a:t>
            </a:r>
            <a:r>
              <a:rPr lang="en-US" spc="50" dirty="0">
                <a:solidFill>
                  <a:srgbClr val="0000FF"/>
                </a:solidFill>
                <a:ea typeface="Times New Roman" panose="02020603050405020304" pitchFamily="18" charset="0"/>
                <a:cs typeface="Times New Roman" panose="02020603050405020304" pitchFamily="18" charset="0"/>
                <a:hlinkClick r:id="rId3"/>
              </a:rPr>
              <a:t>t</a:t>
            </a:r>
            <a:r>
              <a:rPr lang="en-US" spc="-20" dirty="0">
                <a:solidFill>
                  <a:srgbClr val="0000FF"/>
                </a:solidFill>
                <a:ea typeface="Times New Roman" panose="02020603050405020304" pitchFamily="18" charset="0"/>
                <a:cs typeface="Times New Roman" panose="02020603050405020304" pitchFamily="18" charset="0"/>
                <a:hlinkClick r:id="rId3"/>
              </a:rPr>
              <a:t>l</a:t>
            </a:r>
            <a:r>
              <a:rPr lang="en-US" spc="-5" dirty="0">
                <a:solidFill>
                  <a:srgbClr val="0000FF"/>
                </a:solidFill>
                <a:ea typeface="Times New Roman" panose="02020603050405020304" pitchFamily="18" charset="0"/>
                <a:cs typeface="Times New Roman" panose="02020603050405020304" pitchFamily="18" charset="0"/>
                <a:hlinkClick r:id="rId3"/>
              </a:rPr>
              <a:t>a</a:t>
            </a:r>
            <a:r>
              <a:rPr lang="en-US" dirty="0">
                <a:solidFill>
                  <a:srgbClr val="0000FF"/>
                </a:solidFill>
                <a:ea typeface="Times New Roman" panose="02020603050405020304" pitchFamily="18" charset="0"/>
                <a:cs typeface="Times New Roman" panose="02020603050405020304" pitchFamily="18" charset="0"/>
                <a:hlinkClick r:id="rId3"/>
              </a:rPr>
              <a:t>k</a:t>
            </a:r>
            <a:r>
              <a:rPr lang="en-US" spc="20" dirty="0">
                <a:solidFill>
                  <a:srgbClr val="0000FF"/>
                </a:solidFill>
                <a:ea typeface="Times New Roman" panose="02020603050405020304" pitchFamily="18" charset="0"/>
                <a:cs typeface="Times New Roman" panose="02020603050405020304" pitchFamily="18" charset="0"/>
                <a:hlinkClick r:id="rId3"/>
              </a:rPr>
              <a:t>e</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spc="25" dirty="0">
                <a:solidFill>
                  <a:srgbClr val="0000FF"/>
                </a:solidFill>
                <a:ea typeface="Times New Roman" panose="02020603050405020304" pitchFamily="18" charset="0"/>
                <a:cs typeface="Times New Roman" panose="02020603050405020304" pitchFamily="18" charset="0"/>
                <a:hlinkClick r:id="rId3"/>
              </a:rPr>
              <a:t>n</a:t>
            </a:r>
            <a:r>
              <a:rPr lang="en-US" spc="-40" dirty="0">
                <a:solidFill>
                  <a:srgbClr val="0000FF"/>
                </a:solidFill>
                <a:ea typeface="Times New Roman" panose="02020603050405020304" pitchFamily="18" charset="0"/>
                <a:cs typeface="Times New Roman" panose="02020603050405020304" pitchFamily="18" charset="0"/>
                <a:hlinkClick r:id="rId3"/>
              </a:rPr>
              <a:t>f</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g</a:t>
            </a:r>
            <a:r>
              <a:rPr lang="en-US" dirty="0">
                <a:solidFill>
                  <a:srgbClr val="0000FF"/>
                </a:solidFill>
                <a:ea typeface="Times New Roman" panose="02020603050405020304" pitchFamily="18" charset="0"/>
                <a:cs typeface="Times New Roman" panose="02020603050405020304" pitchFamily="18" charset="0"/>
                <a:hlinkClick r:id="rId3"/>
              </a:rPr>
              <a:t>/</a:t>
            </a:r>
            <a:endParaRPr lang="en-US" dirty="0"/>
          </a:p>
        </p:txBody>
      </p:sp>
    </p:spTree>
    <p:extLst>
      <p:ext uri="{BB962C8B-B14F-4D97-AF65-F5344CB8AC3E}">
        <p14:creationId xmlns:p14="http://schemas.microsoft.com/office/powerpoint/2010/main" val="175685546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29310"/>
            <a:ext cx="7772400" cy="812800"/>
          </a:xfrm>
        </p:spPr>
        <p:txBody>
          <a:bodyPr/>
          <a:lstStyle/>
          <a:p>
            <a:r>
              <a:rPr lang="en-US" dirty="0">
                <a:hlinkClick r:id="rId2"/>
              </a:rPr>
              <a:t>http://www.nconemap.com</a:t>
            </a:r>
            <a:r>
              <a:rPr lang="en-US" dirty="0" smtClean="0">
                <a:hlinkClick r:id="rId2"/>
              </a:rPr>
              <a:t>/</a:t>
            </a:r>
            <a:r>
              <a:rPr lang="en-US" dirty="0" smtClean="0"/>
              <a:t> </a:t>
            </a:r>
            <a:endParaRPr lang="en-US" dirty="0"/>
          </a:p>
        </p:txBody>
      </p:sp>
      <p:pic>
        <p:nvPicPr>
          <p:cNvPr id="3" name="Picture 2"/>
          <p:cNvPicPr>
            <a:picLocks noChangeAspect="1"/>
          </p:cNvPicPr>
          <p:nvPr/>
        </p:nvPicPr>
        <p:blipFill>
          <a:blip r:embed="rId3"/>
          <a:stretch>
            <a:fillRect/>
          </a:stretch>
        </p:blipFill>
        <p:spPr>
          <a:xfrm>
            <a:off x="0" y="942110"/>
            <a:ext cx="9144000" cy="5816367"/>
          </a:xfrm>
          <a:prstGeom prst="rect">
            <a:avLst/>
          </a:prstGeom>
        </p:spPr>
      </p:pic>
      <p:pic>
        <p:nvPicPr>
          <p:cNvPr id="4" name="Picture 3"/>
          <p:cNvPicPr>
            <a:picLocks noChangeAspect="1"/>
          </p:cNvPicPr>
          <p:nvPr/>
        </p:nvPicPr>
        <p:blipFill>
          <a:blip r:embed="rId4"/>
          <a:stretch>
            <a:fillRect/>
          </a:stretch>
        </p:blipFill>
        <p:spPr>
          <a:xfrm>
            <a:off x="7385934" y="2375554"/>
            <a:ext cx="1758066" cy="3096116"/>
          </a:xfrm>
          <a:prstGeom prst="rect">
            <a:avLst/>
          </a:prstGeom>
        </p:spPr>
      </p:pic>
      <p:pic>
        <p:nvPicPr>
          <p:cNvPr id="5" name="Picture 4"/>
          <p:cNvPicPr>
            <a:picLocks noChangeAspect="1"/>
          </p:cNvPicPr>
          <p:nvPr/>
        </p:nvPicPr>
        <p:blipFill>
          <a:blip r:embed="rId5"/>
          <a:stretch>
            <a:fillRect/>
          </a:stretch>
        </p:blipFill>
        <p:spPr>
          <a:xfrm>
            <a:off x="120944" y="4578680"/>
            <a:ext cx="3572023" cy="2055137"/>
          </a:xfrm>
          <a:prstGeom prst="rect">
            <a:avLst/>
          </a:prstGeom>
        </p:spPr>
      </p:pic>
    </p:spTree>
    <p:extLst>
      <p:ext uri="{BB962C8B-B14F-4D97-AF65-F5344CB8AC3E}">
        <p14:creationId xmlns:p14="http://schemas.microsoft.com/office/powerpoint/2010/main" val="109942171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378" y="64655"/>
            <a:ext cx="7772400" cy="831273"/>
          </a:xfrm>
        </p:spPr>
        <p:txBody>
          <a:bodyPr/>
          <a:lstStyle/>
          <a:p>
            <a:r>
              <a:rPr lang="en-US" u="sng" dirty="0">
                <a:hlinkClick r:id="rId2"/>
              </a:rPr>
              <a:t>http://www.ncfloodmaps.com</a:t>
            </a:r>
            <a:r>
              <a:rPr lang="en-US" u="sng" dirty="0" smtClean="0">
                <a:hlinkClick r:id="rId2"/>
              </a:rPr>
              <a:t>/</a:t>
            </a:r>
            <a:r>
              <a:rPr lang="en-US" u="sng" dirty="0" smtClean="0"/>
              <a:t> </a:t>
            </a:r>
            <a:endParaRPr lang="en-US" dirty="0"/>
          </a:p>
        </p:txBody>
      </p:sp>
      <p:pic>
        <p:nvPicPr>
          <p:cNvPr id="3" name="Picture 2"/>
          <p:cNvPicPr>
            <a:picLocks noChangeAspect="1"/>
          </p:cNvPicPr>
          <p:nvPr/>
        </p:nvPicPr>
        <p:blipFill>
          <a:blip r:embed="rId3"/>
          <a:stretch>
            <a:fillRect/>
          </a:stretch>
        </p:blipFill>
        <p:spPr>
          <a:xfrm>
            <a:off x="1155" y="1042367"/>
            <a:ext cx="9142846" cy="5815633"/>
          </a:xfrm>
          <a:prstGeom prst="rect">
            <a:avLst/>
          </a:prstGeom>
        </p:spPr>
      </p:pic>
    </p:spTree>
    <p:extLst>
      <p:ext uri="{BB962C8B-B14F-4D97-AF65-F5344CB8AC3E}">
        <p14:creationId xmlns:p14="http://schemas.microsoft.com/office/powerpoint/2010/main" val="36133130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026"/>
          <p:cNvSpPr>
            <a:spLocks noGrp="1" noChangeArrowheads="1"/>
          </p:cNvSpPr>
          <p:nvPr>
            <p:ph type="title"/>
          </p:nvPr>
        </p:nvSpPr>
        <p:spPr>
          <a:xfrm>
            <a:off x="609600" y="38100"/>
            <a:ext cx="7772400" cy="1143000"/>
          </a:xfrm>
        </p:spPr>
        <p:txBody>
          <a:bodyPr/>
          <a:lstStyle/>
          <a:p>
            <a:pPr eaLnBrk="1" hangingPunct="1"/>
            <a:r>
              <a:rPr lang="en-US" dirty="0" smtClean="0"/>
              <a:t>Watershed Boundary Dataset</a:t>
            </a:r>
          </a:p>
        </p:txBody>
      </p:sp>
      <p:sp>
        <p:nvSpPr>
          <p:cNvPr id="11267" name="Rectangle 1027"/>
          <p:cNvSpPr>
            <a:spLocks noGrp="1" noChangeArrowheads="1"/>
          </p:cNvSpPr>
          <p:nvPr>
            <p:ph type="body" sz="half" idx="1"/>
          </p:nvPr>
        </p:nvSpPr>
        <p:spPr>
          <a:xfrm>
            <a:off x="685800" y="1981200"/>
            <a:ext cx="4114800" cy="4114800"/>
          </a:xfrm>
        </p:spPr>
        <p:txBody>
          <a:bodyPr/>
          <a:lstStyle/>
          <a:p>
            <a:pPr eaLnBrk="1" hangingPunct="1"/>
            <a:r>
              <a:rPr lang="en-US" dirty="0" smtClean="0"/>
              <a:t>National Program by </a:t>
            </a:r>
            <a:r>
              <a:rPr lang="en-US" dirty="0" smtClean="0">
                <a:solidFill>
                  <a:srgbClr val="FF3300"/>
                </a:solidFill>
              </a:rPr>
              <a:t>USGS</a:t>
            </a:r>
            <a:r>
              <a:rPr lang="en-US" dirty="0" smtClean="0"/>
              <a:t> and </a:t>
            </a:r>
            <a:r>
              <a:rPr lang="en-US" dirty="0" smtClean="0">
                <a:solidFill>
                  <a:srgbClr val="FF3300"/>
                </a:solidFill>
              </a:rPr>
              <a:t>USDA</a:t>
            </a:r>
            <a:r>
              <a:rPr lang="en-US" dirty="0" smtClean="0"/>
              <a:t> (NRCS)</a:t>
            </a:r>
          </a:p>
          <a:p>
            <a:pPr eaLnBrk="1" hangingPunct="1"/>
            <a:r>
              <a:rPr lang="en-US" dirty="0" smtClean="0"/>
              <a:t>Boundaries for </a:t>
            </a:r>
            <a:r>
              <a:rPr lang="en-US" dirty="0" smtClean="0">
                <a:solidFill>
                  <a:srgbClr val="FF3300"/>
                </a:solidFill>
              </a:rPr>
              <a:t>10- and 12- digit</a:t>
            </a:r>
            <a:r>
              <a:rPr lang="en-US" dirty="0" smtClean="0"/>
              <a:t> watersheds</a:t>
            </a:r>
          </a:p>
          <a:p>
            <a:pPr eaLnBrk="1" hangingPunct="1"/>
            <a:r>
              <a:rPr lang="en-US" dirty="0" smtClean="0"/>
              <a:t>First cut is by </a:t>
            </a:r>
            <a:r>
              <a:rPr lang="en-US" dirty="0" smtClean="0">
                <a:solidFill>
                  <a:srgbClr val="FF3300"/>
                </a:solidFill>
              </a:rPr>
              <a:t>automated delineation</a:t>
            </a:r>
            <a:r>
              <a:rPr lang="en-US" dirty="0" smtClean="0"/>
              <a:t> from NED</a:t>
            </a:r>
          </a:p>
          <a:p>
            <a:pPr eaLnBrk="1" hangingPunct="1"/>
            <a:r>
              <a:rPr lang="en-US" dirty="0" smtClean="0">
                <a:solidFill>
                  <a:srgbClr val="FF3300"/>
                </a:solidFill>
              </a:rPr>
              <a:t>Hand checked</a:t>
            </a:r>
            <a:r>
              <a:rPr lang="en-US" dirty="0" smtClean="0"/>
              <a:t> and edited </a:t>
            </a:r>
          </a:p>
        </p:txBody>
      </p:sp>
      <p:pic>
        <p:nvPicPr>
          <p:cNvPr id="11268" name="Picture 1028" descr="wash_fig6"/>
          <p:cNvPicPr>
            <a:picLocks noChangeAspect="1" noChangeArrowheads="1"/>
          </p:cNvPicPr>
          <p:nvPr/>
        </p:nvPicPr>
        <p:blipFill>
          <a:blip r:embed="rId2" cstate="print"/>
          <a:srcRect/>
          <a:stretch>
            <a:fillRect/>
          </a:stretch>
        </p:blipFill>
        <p:spPr bwMode="auto">
          <a:xfrm>
            <a:off x="5181600" y="1600200"/>
            <a:ext cx="3200400" cy="2820988"/>
          </a:xfrm>
          <a:prstGeom prst="rect">
            <a:avLst/>
          </a:prstGeom>
          <a:noFill/>
          <a:ln w="9525">
            <a:noFill/>
            <a:miter lim="800000"/>
            <a:headEnd/>
            <a:tailEnd/>
          </a:ln>
        </p:spPr>
      </p:pic>
      <p:pic>
        <p:nvPicPr>
          <p:cNvPr id="11269" name="Picture 1029" descr="wash_fig1"/>
          <p:cNvPicPr>
            <a:picLocks noChangeAspect="1" noChangeArrowheads="1"/>
          </p:cNvPicPr>
          <p:nvPr/>
        </p:nvPicPr>
        <p:blipFill>
          <a:blip r:embed="rId3" cstate="print"/>
          <a:srcRect/>
          <a:stretch>
            <a:fillRect/>
          </a:stretch>
        </p:blipFill>
        <p:spPr bwMode="auto">
          <a:xfrm>
            <a:off x="5715000" y="4572000"/>
            <a:ext cx="2514600" cy="1814513"/>
          </a:xfrm>
          <a:prstGeom prst="rect">
            <a:avLst/>
          </a:prstGeom>
          <a:noFill/>
          <a:ln w="9525">
            <a:noFill/>
            <a:miter lim="800000"/>
            <a:headEnd/>
            <a:tailEnd/>
          </a:ln>
        </p:spPr>
      </p:pic>
      <p:sp>
        <p:nvSpPr>
          <p:cNvPr id="11270" name="Line 1030"/>
          <p:cNvSpPr>
            <a:spLocks noChangeShapeType="1"/>
          </p:cNvSpPr>
          <p:nvPr/>
        </p:nvSpPr>
        <p:spPr bwMode="auto">
          <a:xfrm flipH="1" flipV="1">
            <a:off x="5257800" y="2667000"/>
            <a:ext cx="1219200" cy="2895600"/>
          </a:xfrm>
          <a:prstGeom prst="line">
            <a:avLst/>
          </a:prstGeom>
          <a:noFill/>
          <a:ln w="9525">
            <a:solidFill>
              <a:schemeClr val="tx1"/>
            </a:solidFill>
            <a:round/>
            <a:headEnd/>
            <a:tailEnd/>
          </a:ln>
        </p:spPr>
        <p:txBody>
          <a:bodyPr/>
          <a:lstStyle/>
          <a:p>
            <a:endParaRPr lang="en-US"/>
          </a:p>
        </p:txBody>
      </p:sp>
      <p:sp>
        <p:nvSpPr>
          <p:cNvPr id="11271" name="Line 1031"/>
          <p:cNvSpPr>
            <a:spLocks noChangeShapeType="1"/>
          </p:cNvSpPr>
          <p:nvPr/>
        </p:nvSpPr>
        <p:spPr bwMode="auto">
          <a:xfrm flipV="1">
            <a:off x="7086600" y="4343400"/>
            <a:ext cx="762000" cy="1371600"/>
          </a:xfrm>
          <a:prstGeom prst="line">
            <a:avLst/>
          </a:prstGeom>
          <a:noFill/>
          <a:ln w="9525">
            <a:solidFill>
              <a:schemeClr val="tx1"/>
            </a:solidFill>
            <a:round/>
            <a:headEnd/>
            <a:tailEnd/>
          </a:ln>
        </p:spPr>
        <p:txBody>
          <a:bodyPr/>
          <a:lstStyle/>
          <a:p>
            <a:endParaRPr lang="en-US"/>
          </a:p>
        </p:txBody>
      </p:sp>
      <p:sp>
        <p:nvSpPr>
          <p:cNvPr id="11272" name="Text Box 1032"/>
          <p:cNvSpPr txBox="1">
            <a:spLocks noChangeArrowheads="1"/>
          </p:cNvSpPr>
          <p:nvPr/>
        </p:nvSpPr>
        <p:spPr bwMode="auto">
          <a:xfrm>
            <a:off x="6400800" y="2057400"/>
            <a:ext cx="2578100" cy="457200"/>
          </a:xfrm>
          <a:prstGeom prst="rect">
            <a:avLst/>
          </a:prstGeom>
          <a:noFill/>
          <a:ln w="9525">
            <a:noFill/>
            <a:miter lim="800000"/>
            <a:headEnd/>
            <a:tailEnd/>
          </a:ln>
        </p:spPr>
        <p:txBody>
          <a:bodyPr wrap="none">
            <a:spAutoFit/>
          </a:bodyPr>
          <a:lstStyle/>
          <a:p>
            <a:r>
              <a:rPr lang="en-US"/>
              <a:t>10-digit watersheds</a:t>
            </a:r>
          </a:p>
        </p:txBody>
      </p:sp>
      <p:sp>
        <p:nvSpPr>
          <p:cNvPr id="2" name="Rectangle 1"/>
          <p:cNvSpPr/>
          <p:nvPr/>
        </p:nvSpPr>
        <p:spPr>
          <a:xfrm>
            <a:off x="609600" y="975152"/>
            <a:ext cx="8369300" cy="461665"/>
          </a:xfrm>
          <a:prstGeom prst="rect">
            <a:avLst/>
          </a:prstGeom>
        </p:spPr>
        <p:txBody>
          <a:bodyPr wrap="square">
            <a:spAutoFit/>
          </a:bodyPr>
          <a:lstStyle/>
          <a:p>
            <a:r>
              <a:rPr lang="en-US" u="sng" dirty="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4"/>
              </a:rPr>
              <a:t>http://</a:t>
            </a:r>
            <a:r>
              <a:rPr lang="en-US" u="sng"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4"/>
              </a:rPr>
              <a:t>nhd.usgs.gov/wbd.html</a:t>
            </a:r>
            <a:r>
              <a:rPr lang="en-US" u="sng" dirty="0" smtClean="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500" dirty="0"/>
              <a:t>What is Cloud Computing</a:t>
            </a:r>
            <a:r>
              <a:rPr lang="en-US" sz="4500" dirty="0" smtClean="0"/>
              <a:t>?</a:t>
            </a:r>
            <a:br>
              <a:rPr lang="en-US" sz="4500" dirty="0" smtClean="0"/>
            </a:br>
            <a:r>
              <a:rPr lang="en-US" sz="3600" dirty="0" smtClean="0"/>
              <a:t>Following Slides are from </a:t>
            </a:r>
            <a:r>
              <a:rPr lang="en-US" sz="3600" dirty="0" err="1" smtClean="0"/>
              <a:t>Dr</a:t>
            </a:r>
            <a:r>
              <a:rPr lang="en-US" sz="3600" smtClean="0"/>
              <a:t> Kristin </a:t>
            </a:r>
            <a:r>
              <a:rPr lang="en-US" sz="3600" dirty="0" smtClean="0"/>
              <a:t>Tolle, Microsoft Research Connections</a:t>
            </a:r>
            <a:endParaRPr lang="en-US" sz="3600" dirty="0"/>
          </a:p>
        </p:txBody>
      </p:sp>
      <p:pic>
        <p:nvPicPr>
          <p:cNvPr id="4" name="Picture 3"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18271"/>
            <a:ext cx="9141619" cy="3028950"/>
          </a:xfrm>
          <a:prstGeom prst="rect">
            <a:avLst/>
          </a:prstGeom>
        </p:spPr>
      </p:pic>
    </p:spTree>
    <p:extLst>
      <p:ext uri="{BB962C8B-B14F-4D97-AF65-F5344CB8AC3E}">
        <p14:creationId xmlns:p14="http://schemas.microsoft.com/office/powerpoint/2010/main" val="404541894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5526802" y="1262394"/>
            <a:ext cx="1212581" cy="4293494"/>
          </a:xfrm>
          <a:prstGeom prst="rect">
            <a:avLst/>
          </a:prstGeom>
        </p:spPr>
      </p:pic>
      <p:sp>
        <p:nvSpPr>
          <p:cNvPr id="4" name="Title 3"/>
          <p:cNvSpPr>
            <a:spLocks noGrp="1"/>
          </p:cNvSpPr>
          <p:nvPr>
            <p:ph type="title" idx="4294967295"/>
          </p:nvPr>
        </p:nvSpPr>
        <p:spPr>
          <a:xfrm>
            <a:off x="7003366" y="2847975"/>
            <a:ext cx="2069306" cy="996554"/>
          </a:xfrm>
        </p:spPr>
        <p:txBody>
          <a:bodyPr>
            <a:normAutofit fontScale="90000"/>
          </a:bodyPr>
          <a:lstStyle/>
          <a:p>
            <a:r>
              <a:rPr lang="en-US" sz="3600" dirty="0"/>
              <a:t>Global Footprint</a:t>
            </a:r>
            <a:endParaRPr lang="en-US" sz="3600" dirty="0">
              <a:solidFill>
                <a:schemeClr val="bg1"/>
              </a:solidFill>
            </a:endParaRPr>
          </a:p>
        </p:txBody>
      </p:sp>
      <p:grpSp>
        <p:nvGrpSpPr>
          <p:cNvPr id="3" name="Group 2"/>
          <p:cNvGrpSpPr/>
          <p:nvPr/>
        </p:nvGrpSpPr>
        <p:grpSpPr>
          <a:xfrm>
            <a:off x="161433" y="1888589"/>
            <a:ext cx="6042091" cy="334587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dirty="0">
                <a:solidFill>
                  <a:srgbClr val="292929"/>
                </a:solidFill>
                <a:latin typeface="Tw Cen MT" panose="020B0602020104020603"/>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dirty="0">
                <a:solidFill>
                  <a:srgbClr val="292929"/>
                </a:solidFill>
                <a:latin typeface="Tw Cen MT" panose="020B0602020104020603"/>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grpSp>
      <p:sp>
        <p:nvSpPr>
          <p:cNvPr id="1315" name="Oval 1314"/>
          <p:cNvSpPr/>
          <p:nvPr/>
        </p:nvSpPr>
        <p:spPr bwMode="auto">
          <a:xfrm>
            <a:off x="1637649" y="306442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19" name="Oval 1318"/>
          <p:cNvSpPr/>
          <p:nvPr/>
        </p:nvSpPr>
        <p:spPr bwMode="auto">
          <a:xfrm>
            <a:off x="867106" y="3145224"/>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0" name="Oval 1319"/>
          <p:cNvSpPr/>
          <p:nvPr/>
        </p:nvSpPr>
        <p:spPr bwMode="auto">
          <a:xfrm>
            <a:off x="1535169" y="329893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1" name="Oval 1320"/>
          <p:cNvSpPr/>
          <p:nvPr/>
        </p:nvSpPr>
        <p:spPr bwMode="auto">
          <a:xfrm>
            <a:off x="1771651" y="29718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2" name="Oval 1321"/>
          <p:cNvSpPr/>
          <p:nvPr/>
        </p:nvSpPr>
        <p:spPr bwMode="auto">
          <a:xfrm>
            <a:off x="800101" y="28003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3" name="Oval 1322"/>
          <p:cNvSpPr/>
          <p:nvPr/>
        </p:nvSpPr>
        <p:spPr bwMode="auto">
          <a:xfrm>
            <a:off x="3543301" y="26289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5" name="Oval 1324"/>
          <p:cNvSpPr/>
          <p:nvPr/>
        </p:nvSpPr>
        <p:spPr bwMode="auto">
          <a:xfrm>
            <a:off x="2898886" y="284764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6" name="Oval 1325"/>
          <p:cNvSpPr/>
          <p:nvPr/>
        </p:nvSpPr>
        <p:spPr bwMode="auto">
          <a:xfrm>
            <a:off x="3151134" y="25559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7" name="Oval 1326"/>
          <p:cNvSpPr/>
          <p:nvPr/>
        </p:nvSpPr>
        <p:spPr bwMode="auto">
          <a:xfrm>
            <a:off x="3241786" y="284173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8" name="Oval 1327"/>
          <p:cNvSpPr/>
          <p:nvPr/>
        </p:nvSpPr>
        <p:spPr bwMode="auto">
          <a:xfrm>
            <a:off x="3145224" y="29146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9" name="Oval 1328"/>
          <p:cNvSpPr/>
          <p:nvPr/>
        </p:nvSpPr>
        <p:spPr bwMode="auto">
          <a:xfrm>
            <a:off x="2192062" y="4211715"/>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0" name="Oval 1329"/>
          <p:cNvSpPr/>
          <p:nvPr/>
        </p:nvSpPr>
        <p:spPr bwMode="auto">
          <a:xfrm>
            <a:off x="4865634" y="33560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1" name="Oval 1330"/>
          <p:cNvSpPr/>
          <p:nvPr/>
        </p:nvSpPr>
        <p:spPr bwMode="auto">
          <a:xfrm>
            <a:off x="5086351" y="30861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2" name="Oval 1331"/>
          <p:cNvSpPr/>
          <p:nvPr/>
        </p:nvSpPr>
        <p:spPr bwMode="auto">
          <a:xfrm>
            <a:off x="4686301" y="39433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3" name="Oval 1332"/>
          <p:cNvSpPr/>
          <p:nvPr/>
        </p:nvSpPr>
        <p:spPr bwMode="auto">
          <a:xfrm>
            <a:off x="5446989" y="4573974"/>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4" name="Oval 1333"/>
          <p:cNvSpPr/>
          <p:nvPr/>
        </p:nvSpPr>
        <p:spPr bwMode="auto">
          <a:xfrm>
            <a:off x="5257801" y="2995449"/>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5" name="Oval 1334"/>
          <p:cNvSpPr/>
          <p:nvPr/>
        </p:nvSpPr>
        <p:spPr bwMode="auto">
          <a:xfrm>
            <a:off x="5299186" y="31274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6" name="Oval 1335"/>
          <p:cNvSpPr/>
          <p:nvPr/>
        </p:nvSpPr>
        <p:spPr bwMode="auto">
          <a:xfrm>
            <a:off x="3795549" y="3338349"/>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grpSp>
        <p:nvGrpSpPr>
          <p:cNvPr id="10" name="Group 9"/>
          <p:cNvGrpSpPr/>
          <p:nvPr/>
        </p:nvGrpSpPr>
        <p:grpSpPr>
          <a:xfrm>
            <a:off x="842638" y="2673179"/>
            <a:ext cx="4346399" cy="1430599"/>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8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800" dirty="0">
                <a:solidFill>
                  <a:srgbClr val="FFFFFF"/>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97040" y="4177737"/>
            <a:ext cx="2945771" cy="1837615"/>
          </a:xfrm>
          <a:prstGeom prst="rect">
            <a:avLst/>
          </a:prstGeom>
        </p:spPr>
      </p:pic>
      <p:sp>
        <p:nvSpPr>
          <p:cNvPr id="1262" name="Title 1"/>
          <p:cNvSpPr txBox="1">
            <a:spLocks/>
          </p:cNvSpPr>
          <p:nvPr/>
        </p:nvSpPr>
        <p:spPr>
          <a:xfrm>
            <a:off x="685332" y="1321138"/>
            <a:ext cx="7773338" cy="1197133"/>
          </a:xfrm>
          <a:prstGeom prst="rect">
            <a:avLst/>
          </a:prstGeom>
        </p:spPr>
        <p:txBody>
          <a:bodyPr>
            <a:normAutofit/>
          </a:bodyPr>
          <a:lstStyle>
            <a:lvl1pPr algn="ctr" defTabSz="914400" rtl="0" eaLnBrk="1" latinLnBrk="0" hangingPunct="1">
              <a:lnSpc>
                <a:spcPct val="90000"/>
              </a:lnSpc>
              <a:spcBef>
                <a:spcPct val="0"/>
              </a:spcBef>
              <a:buNone/>
              <a:defRPr sz="4000" kern="1200" cap="small" baseline="0">
                <a:solidFill>
                  <a:schemeClr val="tx1"/>
                </a:solidFill>
                <a:effectLst/>
                <a:latin typeface="+mj-lt"/>
                <a:ea typeface="+mj-ea"/>
                <a:cs typeface="+mj-cs"/>
              </a:defRPr>
            </a:lvl1pPr>
          </a:lstStyle>
          <a:p>
            <a:pPr fontAlgn="auto">
              <a:spcAft>
                <a:spcPts val="0"/>
              </a:spcAft>
            </a:pPr>
            <a:r>
              <a:rPr lang="en-US" sz="3600" dirty="0">
                <a:solidFill>
                  <a:prstClr val="black">
                    <a:alpha val="99000"/>
                  </a:prstClr>
                </a:solidFill>
              </a:rPr>
              <a:t>Where is the Cloud?</a:t>
            </a:r>
          </a:p>
        </p:txBody>
      </p:sp>
    </p:spTree>
    <p:extLst>
      <p:ext uri="{BB962C8B-B14F-4D97-AF65-F5344CB8AC3E}">
        <p14:creationId xmlns:p14="http://schemas.microsoft.com/office/powerpoint/2010/main" val="62210160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s Data Center </a:t>
            </a:r>
            <a:r>
              <a:rPr lang="en-US" dirty="0" smtClean="0"/>
              <a:t>Evolution</a:t>
            </a:r>
            <a:endParaRPr lang="en-GB" dirty="0"/>
          </a:p>
        </p:txBody>
      </p:sp>
      <p:grpSp>
        <p:nvGrpSpPr>
          <p:cNvPr id="9" name="Group 8"/>
          <p:cNvGrpSpPr/>
          <p:nvPr/>
        </p:nvGrpSpPr>
        <p:grpSpPr>
          <a:xfrm>
            <a:off x="791935" y="2226725"/>
            <a:ext cx="7658570" cy="2999124"/>
            <a:chOff x="1347167" y="1825967"/>
            <a:chExt cx="9591830" cy="3831496"/>
          </a:xfrm>
        </p:grpSpPr>
        <p:pic>
          <p:nvPicPr>
            <p:cNvPr id="1026" name="Picture 2" descr="http://blogs.technet.com/cfs-file.ashx/__key/communityserver-blogs-components-weblogfiles/00-00-00-70-59/0003.quincy.jpg"/>
            <p:cNvPicPr>
              <a:picLocks noChangeAspect="1" noChangeArrowheads="1"/>
            </p:cNvPicPr>
            <p:nvPr/>
          </p:nvPicPr>
          <p:blipFill rotWithShape="1">
            <a:blip r:embed="rId3">
              <a:extLst>
                <a:ext uri="{28A0092B-C50C-407E-A947-70E740481C1C}">
                  <a14:useLocalDpi xmlns:a14="http://schemas.microsoft.com/office/drawing/2010/main" val="0"/>
                </a:ext>
              </a:extLst>
            </a:blip>
            <a:srcRect l="61022" t="34131" r="2041" b="40051"/>
            <a:stretch/>
          </p:blipFill>
          <p:spPr bwMode="auto">
            <a:xfrm>
              <a:off x="8519482" y="2302763"/>
              <a:ext cx="2286000" cy="1063575"/>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6133152" y="1825968"/>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Chicago and Dublin Generation 3</a:t>
              </a:r>
            </a:p>
          </p:txBody>
        </p:sp>
        <p:sp>
          <p:nvSpPr>
            <p:cNvPr id="67" name="TextBox 66"/>
            <p:cNvSpPr txBox="1"/>
            <p:nvPr/>
          </p:nvSpPr>
          <p:spPr>
            <a:xfrm>
              <a:off x="1357394" y="1825968"/>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endParaRPr lang="en-US" sz="1050" dirty="0">
                <a:solidFill>
                  <a:prstClr val="white"/>
                </a:solidFill>
                <a:latin typeface="Tw Cen MT" panose="020B0602020104020603"/>
              </a:endParaRPr>
            </a:p>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Data Center Co-Location      Generation 1</a:t>
              </a:r>
            </a:p>
            <a:p>
              <a:pPr marL="0" lvl="1" indent="-128423" algn="ctr" defTabSz="685432" fontAlgn="auto">
                <a:spcBef>
                  <a:spcPts val="338"/>
                </a:spcBef>
                <a:spcAft>
                  <a:spcPts val="0"/>
                </a:spcAft>
                <a:buSzPct val="80000"/>
                <a:defRPr/>
              </a:pPr>
              <a:endParaRPr lang="en-US" sz="1050" kern="0" dirty="0">
                <a:solidFill>
                  <a:prstClr val="white"/>
                </a:solidFill>
                <a:latin typeface="Segoe UI Semibold" pitchFamily="34" charset="0"/>
              </a:endParaRPr>
            </a:p>
          </p:txBody>
        </p:sp>
        <p:sp>
          <p:nvSpPr>
            <p:cNvPr id="68" name="TextBox 67"/>
            <p:cNvSpPr txBox="1"/>
            <p:nvPr/>
          </p:nvSpPr>
          <p:spPr>
            <a:xfrm>
              <a:off x="8514375" y="1825967"/>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Modular Data Center Generation 4</a:t>
              </a:r>
              <a:endParaRPr lang="en-US" sz="1050" dirty="0">
                <a:solidFill>
                  <a:prstClr val="white"/>
                </a:solidFill>
                <a:latin typeface="Tw Cen MT" panose="020B0602020104020603"/>
              </a:endParaRPr>
            </a:p>
          </p:txBody>
        </p:sp>
        <p:sp>
          <p:nvSpPr>
            <p:cNvPr id="69" name="TextBox 68"/>
            <p:cNvSpPr txBox="1"/>
            <p:nvPr/>
          </p:nvSpPr>
          <p:spPr>
            <a:xfrm>
              <a:off x="3743723" y="1825967"/>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Quincy and San Antonio Generation 2</a:t>
              </a:r>
            </a:p>
          </p:txBody>
        </p:sp>
        <p:pic>
          <p:nvPicPr>
            <p:cNvPr id="71" name="Picture 7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33152" y="2303427"/>
              <a:ext cx="2286000" cy="1042986"/>
            </a:xfrm>
            <a:prstGeom prst="rect">
              <a:avLst/>
            </a:prstGeom>
            <a:solidFill>
              <a:srgbClr val="FFFFFF">
                <a:shade val="85000"/>
              </a:srgbClr>
            </a:solidFill>
            <a:ln>
              <a:noFill/>
            </a:ln>
            <a:effectLst/>
          </p:spPr>
        </p:pic>
        <p:pic>
          <p:nvPicPr>
            <p:cNvPr id="72" name="Picture 24" descr="Data centre, Quincy by cellan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43724" y="2306944"/>
              <a:ext cx="2286000" cy="987895"/>
            </a:xfrm>
            <a:prstGeom prst="rect">
              <a:avLst/>
            </a:prstGeom>
            <a:solidFill>
              <a:srgbClr val="FFFFFF">
                <a:shade val="85000"/>
              </a:srgbClr>
            </a:solidFill>
            <a:ln>
              <a:noFill/>
            </a:ln>
            <a:effectLst/>
          </p:spPr>
        </p:pic>
        <p:pic>
          <p:nvPicPr>
            <p:cNvPr id="73" name="Picture 22" descr="tour_data_center.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57394" y="2302763"/>
              <a:ext cx="2286000" cy="1040550"/>
            </a:xfrm>
            <a:prstGeom prst="rect">
              <a:avLst/>
            </a:prstGeom>
            <a:solidFill>
              <a:srgbClr val="FFFFFF">
                <a:shade val="85000"/>
              </a:srgbClr>
            </a:solidFill>
            <a:ln>
              <a:noFill/>
            </a:ln>
            <a:effectLst/>
          </p:spPr>
        </p:pic>
        <p:sp>
          <p:nvSpPr>
            <p:cNvPr id="78" name="Rectangle 77"/>
            <p:cNvSpPr/>
            <p:nvPr/>
          </p:nvSpPr>
          <p:spPr>
            <a:xfrm>
              <a:off x="8548626" y="5041414"/>
              <a:ext cx="2201992" cy="538184"/>
            </a:xfrm>
            <a:prstGeom prst="rect">
              <a:avLst/>
            </a:prstGeom>
          </p:spPr>
          <p:txBody>
            <a:bodyPr wrap="square" lIns="51431" tIns="25716" rIns="51431" bIns="25716">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Time to Market</a:t>
              </a:r>
            </a:p>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Lower TCO</a:t>
              </a:r>
            </a:p>
          </p:txBody>
        </p:sp>
        <p:pic>
          <p:nvPicPr>
            <p:cNvPr id="79" name="Picture 2" descr="http://radio.weblogs.com/0119080/images/Gallery/container2.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10800000" flipH="1">
              <a:off x="6772103" y="3945027"/>
              <a:ext cx="1277817" cy="884405"/>
            </a:xfrm>
            <a:prstGeom prst="rect">
              <a:avLst/>
            </a:prstGeom>
            <a:noFill/>
            <a:effectLst/>
          </p:spPr>
        </p:pic>
        <p:sp>
          <p:nvSpPr>
            <p:cNvPr id="80" name="Rectangle 79"/>
            <p:cNvSpPr/>
            <p:nvPr/>
          </p:nvSpPr>
          <p:spPr>
            <a:xfrm>
              <a:off x="6633898" y="5042334"/>
              <a:ext cx="1284508" cy="538196"/>
            </a:xfrm>
            <a:prstGeom prst="rect">
              <a:avLst/>
            </a:prstGeom>
          </p:spPr>
          <p:txBody>
            <a:bodyPr wrap="none" lIns="51440" tIns="25721" rIns="51440" bIns="25721">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 Scalability &amp; </a:t>
              </a:r>
              <a:b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b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Sustainability</a:t>
              </a:r>
            </a:p>
          </p:txBody>
        </p:sp>
        <p:grpSp>
          <p:nvGrpSpPr>
            <p:cNvPr id="7" name="Group 6"/>
            <p:cNvGrpSpPr/>
            <p:nvPr/>
          </p:nvGrpSpPr>
          <p:grpSpPr>
            <a:xfrm>
              <a:off x="3743724" y="3647774"/>
              <a:ext cx="2286000" cy="1385849"/>
              <a:chOff x="3743724" y="3647774"/>
              <a:chExt cx="2286000" cy="1385849"/>
            </a:xfrm>
          </p:grpSpPr>
          <p:sp>
            <p:nvSpPr>
              <p:cNvPr id="75" name="Rounded Rectangle 74"/>
              <p:cNvSpPr/>
              <p:nvPr/>
            </p:nvSpPr>
            <p:spPr bwMode="auto">
              <a:xfrm rot="10800000">
                <a:off x="3743724" y="3662023"/>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sp>
            <p:nvSpPr>
              <p:cNvPr id="77" name="Rectangle 76"/>
              <p:cNvSpPr/>
              <p:nvPr/>
            </p:nvSpPr>
            <p:spPr>
              <a:xfrm>
                <a:off x="3826865" y="3647774"/>
                <a:ext cx="2119717" cy="224028"/>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Rack</a:t>
                </a: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p:txBody>
          </p:sp>
          <p:pic>
            <p:nvPicPr>
              <p:cNvPr id="81" name="Picture 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75395" y="3936318"/>
                <a:ext cx="422656" cy="742041"/>
              </a:xfrm>
              <a:prstGeom prst="rect">
                <a:avLst/>
              </a:prstGeom>
              <a:noFill/>
              <a:ln w="9525">
                <a:noFill/>
                <a:miter lim="800000"/>
                <a:headEnd/>
                <a:tailEnd/>
              </a:ln>
              <a:effectLst/>
            </p:spPr>
          </p:pic>
        </p:grpSp>
        <p:sp>
          <p:nvSpPr>
            <p:cNvPr id="82" name="Text Box 17"/>
            <p:cNvSpPr txBox="1">
              <a:spLocks noChangeArrowheads="1"/>
            </p:cNvSpPr>
            <p:nvPr/>
          </p:nvSpPr>
          <p:spPr bwMode="auto">
            <a:xfrm>
              <a:off x="4130532" y="5119279"/>
              <a:ext cx="1512386" cy="538184"/>
            </a:xfrm>
            <a:prstGeom prst="rect">
              <a:avLst/>
            </a:prstGeom>
            <a:noFill/>
            <a:ln w="9525">
              <a:noFill/>
              <a:miter lim="800000"/>
              <a:headEnd/>
              <a:tailEnd/>
            </a:ln>
          </p:spPr>
          <p:txBody>
            <a:bodyPr wrap="square" lIns="51431" tIns="25716" rIns="51431" bIns="25716">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Density &amp; Deployment</a:t>
              </a:r>
            </a:p>
          </p:txBody>
        </p:sp>
        <p:grpSp>
          <p:nvGrpSpPr>
            <p:cNvPr id="4" name="Group 3"/>
            <p:cNvGrpSpPr/>
            <p:nvPr/>
          </p:nvGrpSpPr>
          <p:grpSpPr>
            <a:xfrm>
              <a:off x="1357394" y="3608110"/>
              <a:ext cx="2286000" cy="1427901"/>
              <a:chOff x="1444485" y="3608110"/>
              <a:chExt cx="2286000" cy="1427901"/>
            </a:xfrm>
          </p:grpSpPr>
          <p:sp>
            <p:nvSpPr>
              <p:cNvPr id="74" name="Rounded Rectangle 73"/>
              <p:cNvSpPr/>
              <p:nvPr/>
            </p:nvSpPr>
            <p:spPr bwMode="auto">
              <a:xfrm rot="10800000">
                <a:off x="1444485" y="3664411"/>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sp>
            <p:nvSpPr>
              <p:cNvPr id="76" name="Rectangle 75"/>
              <p:cNvSpPr/>
              <p:nvPr/>
            </p:nvSpPr>
            <p:spPr>
              <a:xfrm>
                <a:off x="1570800" y="3608110"/>
                <a:ext cx="2119717" cy="225470"/>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Server</a:t>
                </a:r>
              </a:p>
            </p:txBody>
          </p:sp>
          <p:pic>
            <p:nvPicPr>
              <p:cNvPr id="83" name="Picture 2" descr="C:\Users\Staceybr\AppData\Local\Microsoft\Windows\Temporary Internet Files\Content.IE5\SII3DVBC\MCj04352420000[1].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flipH="1">
                <a:off x="2330142" y="3896083"/>
                <a:ext cx="714551" cy="1088813"/>
              </a:xfrm>
              <a:prstGeom prst="rect">
                <a:avLst/>
              </a:prstGeom>
              <a:noFill/>
              <a:effectLst/>
            </p:spPr>
          </p:pic>
        </p:grpSp>
        <p:sp>
          <p:nvSpPr>
            <p:cNvPr id="84" name="Rectangle 83"/>
            <p:cNvSpPr/>
            <p:nvPr/>
          </p:nvSpPr>
          <p:spPr>
            <a:xfrm>
              <a:off x="2056176" y="5119280"/>
              <a:ext cx="888438" cy="302278"/>
            </a:xfrm>
            <a:prstGeom prst="rect">
              <a:avLst/>
            </a:prstGeom>
          </p:spPr>
          <p:txBody>
            <a:bodyPr wrap="none" lIns="51440" tIns="25721" rIns="51440" bIns="25721">
              <a:spAutoFit/>
            </a:bodyPr>
            <a:lstStyle/>
            <a:p>
              <a:pPr algn="ctr" defTabSz="342900" fontAlgn="auto">
                <a:spcBef>
                  <a:spcPts val="0"/>
                </a:spcBef>
                <a:spcAft>
                  <a:spcPts val="0"/>
                </a:spcAft>
              </a:pPr>
              <a:r>
                <a:rPr lang="en-US" sz="900" b="1" dirty="0">
                  <a:solidFill>
                    <a:prstClr val="white"/>
                  </a:solidFill>
                  <a:latin typeface="Segoe UI" pitchFamily="34" charset="0"/>
                  <a:ea typeface="Segoe UI" pitchFamily="34" charset="0"/>
                  <a:cs typeface="Segoe UI" pitchFamily="34" charset="0"/>
                </a:rPr>
                <a:t> </a:t>
              </a: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Capacity</a:t>
              </a:r>
            </a:p>
          </p:txBody>
        </p:sp>
        <p:sp>
          <p:nvSpPr>
            <p:cNvPr id="86" name="Rectangle 85"/>
            <p:cNvSpPr/>
            <p:nvPr/>
          </p:nvSpPr>
          <p:spPr>
            <a:xfrm>
              <a:off x="3829478" y="2762161"/>
              <a:ext cx="1781944" cy="763456"/>
            </a:xfrm>
            <a:prstGeom prst="rect">
              <a:avLst/>
            </a:prstGeom>
          </p:spPr>
          <p:txBody>
            <a:bodyPr wrap="square">
              <a:spAutoFit/>
            </a:bodyPr>
            <a:lstStyle/>
            <a:p>
              <a:pPr algn="ctr" defTabSz="342900" fontAlgn="auto">
                <a:spcBef>
                  <a:spcPts val="675"/>
                </a:spcBef>
                <a:spcAft>
                  <a:spcPts val="0"/>
                </a:spcAft>
                <a:defRPr/>
              </a:pPr>
              <a:endParaRPr lang="en-US" sz="135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135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p:txBody>
        </p:sp>
        <p:grpSp>
          <p:nvGrpSpPr>
            <p:cNvPr id="6" name="Group 5"/>
            <p:cNvGrpSpPr/>
            <p:nvPr/>
          </p:nvGrpSpPr>
          <p:grpSpPr>
            <a:xfrm>
              <a:off x="6133152" y="3647774"/>
              <a:ext cx="2286000" cy="1385851"/>
              <a:chOff x="6141861" y="3656483"/>
              <a:chExt cx="2286000" cy="1385851"/>
            </a:xfrm>
          </p:grpSpPr>
          <p:sp>
            <p:nvSpPr>
              <p:cNvPr id="87" name="Rounded Rectangle 86"/>
              <p:cNvSpPr/>
              <p:nvPr/>
            </p:nvSpPr>
            <p:spPr bwMode="auto">
              <a:xfrm rot="10800000">
                <a:off x="6141861" y="3670734"/>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pic>
            <p:nvPicPr>
              <p:cNvPr id="88" name="Picture 2" descr="http://radio.weblogs.com/0119080/images/Gallery/container2.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10800000" flipH="1">
                <a:off x="6645953" y="3912369"/>
                <a:ext cx="1277817" cy="1061852"/>
              </a:xfrm>
              <a:prstGeom prst="rect">
                <a:avLst/>
              </a:prstGeom>
              <a:noFill/>
              <a:effectLst/>
            </p:spPr>
          </p:pic>
          <p:sp>
            <p:nvSpPr>
              <p:cNvPr id="89" name="Rectangle 88"/>
              <p:cNvSpPr/>
              <p:nvPr/>
            </p:nvSpPr>
            <p:spPr>
              <a:xfrm>
                <a:off x="6225003" y="3656483"/>
                <a:ext cx="2119717" cy="180360"/>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Containers</a:t>
                </a:r>
              </a:p>
            </p:txBody>
          </p:sp>
        </p:grpSp>
        <p:grpSp>
          <p:nvGrpSpPr>
            <p:cNvPr id="8" name="Group 7"/>
            <p:cNvGrpSpPr/>
            <p:nvPr/>
          </p:nvGrpSpPr>
          <p:grpSpPr>
            <a:xfrm>
              <a:off x="8506621" y="3628540"/>
              <a:ext cx="2286000" cy="1405084"/>
              <a:chOff x="8368009" y="3637249"/>
              <a:chExt cx="2286000" cy="1405084"/>
            </a:xfrm>
          </p:grpSpPr>
          <p:sp>
            <p:nvSpPr>
              <p:cNvPr id="90" name="Rounded Rectangle 89"/>
              <p:cNvSpPr/>
              <p:nvPr/>
            </p:nvSpPr>
            <p:spPr bwMode="auto">
              <a:xfrm rot="10800000">
                <a:off x="8368009" y="3670733"/>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pic>
            <p:nvPicPr>
              <p:cNvPr id="91" name="Picture 90"/>
              <p:cNvPicPr>
                <a:picLocks noChangeAspect="1" noChangeArrowheads="1"/>
              </p:cNvPicPr>
              <p:nvPr/>
            </p:nvPicPr>
            <p:blipFill>
              <a:blip r:embed="rId10" cstate="email">
                <a:extLst>
                  <a:ext uri="{BEBA8EAE-BF5A-486C-A8C5-ECC9F3942E4B}">
                    <a14:imgProps xmlns:a14="http://schemas.microsoft.com/office/drawing/2010/main">
                      <a14:imgLayer r:embed="rId11">
                        <a14:imgEffect>
                          <a14:backgroundRemoval t="2477" b="100000" l="668" r="98378">
                            <a14:foregroundMark x1="22615" y1="33768" x2="22805" y2="33768"/>
                            <a14:foregroundMark x1="56679" y1="9648" x2="56870" y2="9648"/>
                            <a14:foregroundMark x1="53912" y1="11082" x2="54103" y2="11082"/>
                            <a14:foregroundMark x1="58206" y1="8344" x2="58397" y2="8344"/>
                            <a14:foregroundMark x1="78435" y1="14472" x2="78626" y2="14472"/>
                            <a14:foregroundMark x1="83206" y1="18644" x2="83397" y2="18644"/>
                            <a14:foregroundMark x1="89790" y1="23859" x2="89981" y2="23859"/>
                            <a14:foregroundMark x1="71660" y1="7953" x2="71851" y2="7953"/>
                            <a14:foregroundMark x1="3721" y1="48110" x2="65458" y2="3520"/>
                            <a14:foregroundMark x1="66031" y1="3520" x2="90744" y2="24902"/>
                            <a14:foregroundMark x1="90744" y1="25684" x2="96851" y2="87484"/>
                            <a14:backgroundMark x1="95992" y1="62842" x2="96183" y2="62842"/>
                            <a14:backgroundMark x1="95992" y1="50717" x2="96183" y2="50717"/>
                            <a14:backgroundMark x1="96374" y1="73924" x2="96565" y2="73924"/>
                            <a14:backgroundMark x1="97042" y1="77314" x2="97233" y2="77314"/>
                            <a14:backgroundMark x1="96851" y1="67797" x2="97901" y2="86050"/>
                            <a14:backgroundMark x1="74415" y1="99401" x2="97953" y2="94411"/>
                            <a14:backgroundMark x1="97368" y1="87226" x2="95322" y2="67265"/>
                          </a14:backgroundRemoval>
                        </a14:imgEffect>
                      </a14:imgLayer>
                    </a14:imgProps>
                  </a:ext>
                  <a:ext uri="{28A0092B-C50C-407E-A947-70E740481C1C}">
                    <a14:useLocalDpi xmlns:a14="http://schemas.microsoft.com/office/drawing/2010/main"/>
                  </a:ext>
                </a:extLst>
              </a:blip>
              <a:srcRect/>
              <a:stretch>
                <a:fillRect/>
              </a:stretch>
            </p:blipFill>
            <p:spPr bwMode="auto">
              <a:xfrm>
                <a:off x="8691782" y="4092707"/>
                <a:ext cx="1793307" cy="594360"/>
              </a:xfrm>
              <a:prstGeom prst="rect">
                <a:avLst/>
              </a:prstGeom>
              <a:ln>
                <a:noFill/>
              </a:ln>
              <a:effectLst/>
              <a:extLst/>
            </p:spPr>
          </p:pic>
          <p:sp>
            <p:nvSpPr>
              <p:cNvPr id="92" name="Rectangle 91"/>
              <p:cNvSpPr/>
              <p:nvPr/>
            </p:nvSpPr>
            <p:spPr>
              <a:xfrm>
                <a:off x="8617862" y="3637249"/>
                <a:ext cx="703706" cy="648774"/>
              </a:xfrm>
              <a:prstGeom prst="rect">
                <a:avLst/>
              </a:prstGeom>
            </p:spPr>
            <p:txBody>
              <a:bodyPr wrap="square">
                <a:spAutoFit/>
              </a:bodyPr>
              <a:lstStyle/>
              <a:p>
                <a:pPr defTabSz="342900" fontAlgn="auto">
                  <a:spcBef>
                    <a:spcPts val="0"/>
                  </a:spcBef>
                  <a:spcAft>
                    <a:spcPts val="0"/>
                  </a:spcAft>
                </a:pPr>
                <a:r>
                  <a:rPr lang="en-IE" sz="1350" dirty="0">
                    <a:solidFill>
                      <a:prstClr val="black"/>
                    </a:solidFill>
                    <a:latin typeface="Tw Cen MT" panose="020B0602020104020603"/>
                  </a:rPr>
                  <a:t>IT PAC</a:t>
                </a:r>
              </a:p>
            </p:txBody>
          </p:sp>
        </p:grpSp>
        <p:grpSp>
          <p:nvGrpSpPr>
            <p:cNvPr id="93" name="Group 173"/>
            <p:cNvGrpSpPr/>
            <p:nvPr/>
          </p:nvGrpSpPr>
          <p:grpSpPr>
            <a:xfrm>
              <a:off x="1347167" y="3294835"/>
              <a:ext cx="9591830" cy="294896"/>
              <a:chOff x="-13230" y="3503115"/>
              <a:chExt cx="12410121" cy="276207"/>
            </a:xfrm>
          </p:grpSpPr>
          <p:cxnSp>
            <p:nvCxnSpPr>
              <p:cNvPr id="94" name="Straight Arrow Connector 93"/>
              <p:cNvCxnSpPr/>
              <p:nvPr/>
            </p:nvCxnSpPr>
            <p:spPr>
              <a:xfrm>
                <a:off x="-13230" y="3625941"/>
                <a:ext cx="12410121" cy="6896"/>
              </a:xfrm>
              <a:prstGeom prst="straightConnector1">
                <a:avLst/>
              </a:prstGeom>
              <a:ln w="254000">
                <a:solidFill>
                  <a:schemeClr val="accent6">
                    <a:lumMod val="75000"/>
                  </a:schemeClr>
                </a:solidFill>
                <a:tailEnd type="stealth" w="med" len="sm"/>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a:xfrm>
                <a:off x="50626" y="3503115"/>
                <a:ext cx="2294149" cy="276207"/>
              </a:xfrm>
              <a:prstGeom prst="rect">
                <a:avLst/>
              </a:prstGeom>
            </p:spPr>
            <p:txBody>
              <a:bodyPr wrap="none">
                <a:spAutoFit/>
              </a:bodyPr>
              <a:lstStyle/>
              <a:p>
                <a:pPr marL="0" lvl="1" indent="-128423" defTabSz="685432" fontAlgn="auto">
                  <a:spcBef>
                    <a:spcPts val="338"/>
                  </a:spcBef>
                  <a:spcAft>
                    <a:spcPts val="0"/>
                  </a:spcAft>
                  <a:buSzPct val="80000"/>
                  <a:defRPr/>
                </a:pPr>
                <a:r>
                  <a:rPr lang="en-US" sz="900" kern="0" dirty="0">
                    <a:gradFill>
                      <a:gsLst>
                        <a:gs pos="0">
                          <a:sysClr val="window" lastClr="FFFFFF"/>
                        </a:gs>
                        <a:gs pos="100000">
                          <a:sysClr val="window" lastClr="FFFFFF"/>
                        </a:gs>
                      </a:gsLst>
                      <a:lin ang="5400000" scaled="0"/>
                    </a:gradFill>
                    <a:latin typeface="Segoe UI Semibold" pitchFamily="34" charset="0"/>
                  </a:rPr>
                  <a:t> Deployment Scale Unit</a:t>
                </a:r>
              </a:p>
            </p:txBody>
          </p:sp>
        </p:grpSp>
      </p:grpSp>
    </p:spTree>
    <p:extLst>
      <p:ext uri="{BB962C8B-B14F-4D97-AF65-F5344CB8AC3E}">
        <p14:creationId xmlns:p14="http://schemas.microsoft.com/office/powerpoint/2010/main" val="222988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rcGIS Online: Maps about the Earth</a:t>
            </a:r>
            <a:endParaRPr lang="en-US" dirty="0"/>
          </a:p>
        </p:txBody>
      </p:sp>
      <p:sp>
        <p:nvSpPr>
          <p:cNvPr id="3" name="Rectangle 2"/>
          <p:cNvSpPr/>
          <p:nvPr/>
        </p:nvSpPr>
        <p:spPr>
          <a:xfrm>
            <a:off x="2057400" y="1154668"/>
            <a:ext cx="5105400" cy="369332"/>
          </a:xfrm>
          <a:prstGeom prst="rect">
            <a:avLst/>
          </a:prstGeom>
        </p:spPr>
        <p:txBody>
          <a:bodyPr wrap="square">
            <a:spAutoFit/>
          </a:bodyPr>
          <a:lstStyle/>
          <a:p>
            <a:pPr fontAlgn="auto">
              <a:spcBef>
                <a:spcPts val="0"/>
              </a:spcBef>
              <a:spcAft>
                <a:spcPts val="0"/>
              </a:spcAft>
            </a:pPr>
            <a:r>
              <a:rPr lang="en-US" sz="1800" dirty="0" smtClean="0">
                <a:solidFill>
                  <a:prstClr val="black"/>
                </a:solidFill>
                <a:latin typeface="Calibri"/>
                <a:hlinkClick r:id="rId2"/>
              </a:rPr>
              <a:t>http://www.arcgis.com/features/maps/earth.html</a:t>
            </a:r>
            <a:endParaRPr lang="en-US" sz="1800" dirty="0">
              <a:solidFill>
                <a:prstClr val="black"/>
              </a:solidFill>
              <a:latin typeface="Calibri"/>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676400"/>
            <a:ext cx="3883710" cy="213360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0" y="3962400"/>
            <a:ext cx="3529013" cy="272952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76799" y="1704109"/>
            <a:ext cx="3864495" cy="2105891"/>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4" name="TextBox 3"/>
          <p:cNvSpPr txBox="1"/>
          <p:nvPr/>
        </p:nvSpPr>
        <p:spPr>
          <a:xfrm>
            <a:off x="1919610" y="3200400"/>
            <a:ext cx="123136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Land Cover</a:t>
            </a:r>
            <a:endParaRPr lang="en-US" sz="1800" dirty="0">
              <a:solidFill>
                <a:prstClr val="black"/>
              </a:solidFill>
              <a:latin typeface="Calibri"/>
            </a:endParaRPr>
          </a:p>
        </p:txBody>
      </p:sp>
      <p:sp>
        <p:nvSpPr>
          <p:cNvPr id="8" name="TextBox 7"/>
          <p:cNvSpPr txBox="1"/>
          <p:nvPr/>
        </p:nvSpPr>
        <p:spPr>
          <a:xfrm>
            <a:off x="4479456" y="6172200"/>
            <a:ext cx="60785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Soils</a:t>
            </a:r>
            <a:endParaRPr lang="en-US" sz="1800" dirty="0">
              <a:solidFill>
                <a:prstClr val="black"/>
              </a:solidFill>
              <a:latin typeface="Calibri"/>
            </a:endParaRPr>
          </a:p>
        </p:txBody>
      </p:sp>
      <p:sp>
        <p:nvSpPr>
          <p:cNvPr id="9" name="TextBox 8"/>
          <p:cNvSpPr txBox="1"/>
          <p:nvPr/>
        </p:nvSpPr>
        <p:spPr>
          <a:xfrm>
            <a:off x="6507887" y="3124200"/>
            <a:ext cx="104682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Elevation</a:t>
            </a:r>
            <a:endParaRPr lang="en-US" sz="1800" dirty="0">
              <a:solidFill>
                <a:prstClr val="black"/>
              </a:solidFill>
              <a:latin typeface="Calibri"/>
            </a:endParaRPr>
          </a:p>
        </p:txBody>
      </p:sp>
    </p:spTree>
    <p:extLst>
      <p:ext uri="{BB962C8B-B14F-4D97-AF65-F5344CB8AC3E}">
        <p14:creationId xmlns:p14="http://schemas.microsoft.com/office/powerpoint/2010/main" val="91887798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1440"/>
            <a:ext cx="8229600" cy="1143000"/>
          </a:xfrm>
        </p:spPr>
        <p:txBody>
          <a:bodyPr/>
          <a:lstStyle/>
          <a:p>
            <a:r>
              <a:rPr lang="en-US" dirty="0" smtClean="0"/>
              <a:t>ArcGIS Online Services</a:t>
            </a:r>
            <a:endParaRPr lang="en-US" dirty="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2033"/>
          <a:stretch/>
        </p:blipFill>
        <p:spPr bwMode="auto">
          <a:xfrm>
            <a:off x="4029364" y="1078347"/>
            <a:ext cx="3461327" cy="310572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163" y="1078347"/>
            <a:ext cx="3048000" cy="5188983"/>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3" name="Rectangle 2"/>
          <p:cNvSpPr/>
          <p:nvPr/>
        </p:nvSpPr>
        <p:spPr>
          <a:xfrm>
            <a:off x="4029364" y="4414983"/>
            <a:ext cx="4572000" cy="1685077"/>
          </a:xfrm>
          <a:prstGeom prst="rect">
            <a:avLst/>
          </a:prstGeom>
        </p:spPr>
        <p:txBody>
          <a:bodyPr>
            <a:spAutoFit/>
          </a:bodyPr>
          <a:lstStyle/>
          <a:p>
            <a:pPr marL="228600" marR="0" indent="-228600">
              <a:lnSpc>
                <a:spcPct val="115000"/>
              </a:lnSpc>
              <a:spcBef>
                <a:spcPts val="25"/>
              </a:spcBef>
              <a:spcAft>
                <a:spcPts val="0"/>
              </a:spcAft>
            </a:pPr>
            <a:r>
              <a:rPr lang="en-US" sz="1800" u="sng" dirty="0">
                <a:solidFill>
                  <a:srgbClr val="0000FF"/>
                </a:solidFill>
                <a:ea typeface="Times New Roman" panose="02020603050405020304" pitchFamily="18" charset="0"/>
                <a:cs typeface="Times New Roman" panose="02020603050405020304" pitchFamily="18" charset="0"/>
                <a:hlinkClick r:id="rId4"/>
              </a:rPr>
              <a:t>http://</a:t>
            </a:r>
            <a:r>
              <a:rPr lang="en-US" sz="1800" u="sng" dirty="0" smtClean="0">
                <a:solidFill>
                  <a:srgbClr val="0000FF"/>
                </a:solidFill>
                <a:ea typeface="Times New Roman" panose="02020603050405020304" pitchFamily="18" charset="0"/>
                <a:cs typeface="Times New Roman" panose="02020603050405020304" pitchFamily="18" charset="0"/>
                <a:hlinkClick r:id="rId4"/>
              </a:rPr>
              <a:t>landscape1.arcgis.com/arcgis/services/</a:t>
            </a:r>
            <a:endParaRPr lang="en-US" sz="1800" dirty="0" smtClean="0">
              <a:ea typeface="Times New Roman" panose="02020603050405020304" pitchFamily="18" charset="0"/>
              <a:cs typeface="Times New Roman" panose="02020603050405020304" pitchFamily="18" charset="0"/>
            </a:endParaRPr>
          </a:p>
          <a:p>
            <a:pPr marL="228600" marR="0" indent="-228600">
              <a:lnSpc>
                <a:spcPct val="115000"/>
              </a:lnSpc>
              <a:spcBef>
                <a:spcPts val="25"/>
              </a:spcBef>
              <a:spcAft>
                <a:spcPts val="0"/>
              </a:spcAft>
            </a:pPr>
            <a:r>
              <a:rPr lang="en-US" sz="1800" u="sng" dirty="0" smtClean="0">
                <a:solidFill>
                  <a:srgbClr val="0000FF"/>
                </a:solidFill>
                <a:ea typeface="Times New Roman" panose="02020603050405020304" pitchFamily="18" charset="0"/>
                <a:cs typeface="Times New Roman" panose="02020603050405020304" pitchFamily="18" charset="0"/>
                <a:hlinkClick r:id="rId5"/>
              </a:rPr>
              <a:t>http</a:t>
            </a:r>
            <a:r>
              <a:rPr lang="en-US" sz="1800" u="sng" dirty="0">
                <a:solidFill>
                  <a:srgbClr val="0000FF"/>
                </a:solidFill>
                <a:ea typeface="Times New Roman" panose="02020603050405020304" pitchFamily="18" charset="0"/>
                <a:cs typeface="Times New Roman" panose="02020603050405020304" pitchFamily="18" charset="0"/>
                <a:hlinkClick r:id="rId5"/>
              </a:rPr>
              <a:t>://</a:t>
            </a:r>
            <a:r>
              <a:rPr lang="en-US" sz="1800" u="sng" dirty="0" smtClean="0">
                <a:solidFill>
                  <a:srgbClr val="0000FF"/>
                </a:solidFill>
                <a:ea typeface="Times New Roman" panose="02020603050405020304" pitchFamily="18" charset="0"/>
                <a:cs typeface="Times New Roman" panose="02020603050405020304" pitchFamily="18" charset="0"/>
                <a:hlinkClick r:id="rId5"/>
              </a:rPr>
              <a:t>landscape2.arcgis.com/arcgis/services/</a:t>
            </a:r>
            <a:endParaRPr lang="en-US" sz="1800" dirty="0" smtClean="0">
              <a:ea typeface="Times New Roman" panose="02020603050405020304" pitchFamily="18" charset="0"/>
              <a:cs typeface="Times New Roman" panose="02020603050405020304" pitchFamily="18" charset="0"/>
            </a:endParaRPr>
          </a:p>
          <a:p>
            <a:pPr marL="228600" marR="0" indent="-228600">
              <a:lnSpc>
                <a:spcPct val="115000"/>
              </a:lnSpc>
              <a:spcBef>
                <a:spcPts val="25"/>
              </a:spcBef>
              <a:spcAft>
                <a:spcPts val="0"/>
              </a:spcAft>
            </a:pPr>
            <a:r>
              <a:rPr lang="en-US" sz="1800" u="sng" dirty="0" smtClean="0">
                <a:solidFill>
                  <a:srgbClr val="0000FF"/>
                </a:solidFill>
                <a:ea typeface="Times New Roman" panose="02020603050405020304" pitchFamily="18" charset="0"/>
                <a:cs typeface="Times New Roman" panose="02020603050405020304" pitchFamily="18" charset="0"/>
                <a:hlinkClick r:id="rId6"/>
              </a:rPr>
              <a:t>http</a:t>
            </a:r>
            <a:r>
              <a:rPr lang="en-US" sz="1800" u="sng" dirty="0">
                <a:solidFill>
                  <a:srgbClr val="0000FF"/>
                </a:solidFill>
                <a:ea typeface="Times New Roman" panose="02020603050405020304" pitchFamily="18" charset="0"/>
                <a:cs typeface="Times New Roman" panose="02020603050405020304" pitchFamily="18" charset="0"/>
                <a:hlinkClick r:id="rId6"/>
              </a:rPr>
              <a:t>://</a:t>
            </a:r>
            <a:r>
              <a:rPr lang="en-US" sz="1800" u="sng" dirty="0" smtClean="0">
                <a:solidFill>
                  <a:srgbClr val="0000FF"/>
                </a:solidFill>
                <a:ea typeface="Times New Roman" panose="02020603050405020304" pitchFamily="18" charset="0"/>
                <a:cs typeface="Times New Roman" panose="02020603050405020304" pitchFamily="18" charset="0"/>
                <a:hlinkClick r:id="rId6"/>
              </a:rPr>
              <a:t>landscape3.arcgis.com/arcgis/services/</a:t>
            </a:r>
            <a:endParaRPr lang="en-US" sz="1800" dirty="0" smtClean="0">
              <a:ea typeface="Times New Roman" panose="02020603050405020304" pitchFamily="18" charset="0"/>
              <a:cs typeface="Times New Roman" panose="02020603050405020304" pitchFamily="18" charset="0"/>
            </a:endParaRPr>
          </a:p>
          <a:p>
            <a:pPr marL="228600" marR="0" indent="-228600">
              <a:lnSpc>
                <a:spcPct val="115000"/>
              </a:lnSpc>
              <a:spcBef>
                <a:spcPts val="25"/>
              </a:spcBef>
              <a:spcAft>
                <a:spcPts val="0"/>
              </a:spcAft>
            </a:pPr>
            <a:r>
              <a:rPr lang="en-US" sz="1800" u="sng" dirty="0" smtClean="0">
                <a:solidFill>
                  <a:srgbClr val="0000FF"/>
                </a:solidFill>
                <a:ea typeface="Times New Roman" panose="02020603050405020304" pitchFamily="18" charset="0"/>
                <a:cs typeface="Times New Roman" panose="02020603050405020304" pitchFamily="18" charset="0"/>
                <a:hlinkClick r:id="rId7"/>
              </a:rPr>
              <a:t>http</a:t>
            </a:r>
            <a:r>
              <a:rPr lang="en-US" sz="1800" u="sng" dirty="0">
                <a:solidFill>
                  <a:srgbClr val="0000FF"/>
                </a:solidFill>
                <a:ea typeface="Times New Roman" panose="02020603050405020304" pitchFamily="18" charset="0"/>
                <a:cs typeface="Times New Roman" panose="02020603050405020304" pitchFamily="18" charset="0"/>
                <a:hlinkClick r:id="rId7"/>
              </a:rPr>
              <a:t>://</a:t>
            </a:r>
            <a:r>
              <a:rPr lang="en-US" sz="1800" u="sng" dirty="0" smtClean="0">
                <a:solidFill>
                  <a:srgbClr val="0000FF"/>
                </a:solidFill>
                <a:ea typeface="Times New Roman" panose="02020603050405020304" pitchFamily="18" charset="0"/>
                <a:cs typeface="Times New Roman" panose="02020603050405020304" pitchFamily="18" charset="0"/>
                <a:hlinkClick r:id="rId7"/>
              </a:rPr>
              <a:t>elevation.arcgis.com/arcgis/services/</a:t>
            </a:r>
            <a:endParaRPr lang="en-US" sz="1800" dirty="0" smtClean="0">
              <a:ea typeface="Times New Roman" panose="02020603050405020304" pitchFamily="18" charset="0"/>
              <a:cs typeface="Times New Roman" panose="02020603050405020304" pitchFamily="18" charset="0"/>
            </a:endParaRPr>
          </a:p>
          <a:p>
            <a:pPr marL="228600" marR="0" indent="-228600">
              <a:lnSpc>
                <a:spcPct val="115000"/>
              </a:lnSpc>
              <a:spcBef>
                <a:spcPts val="25"/>
              </a:spcBef>
              <a:spcAft>
                <a:spcPts val="0"/>
              </a:spcAft>
            </a:pPr>
            <a:r>
              <a:rPr lang="en-US" sz="1800" u="sng" dirty="0" smtClean="0">
                <a:solidFill>
                  <a:srgbClr val="0000FF"/>
                </a:solidFill>
                <a:ea typeface="Times New Roman" panose="02020603050405020304" pitchFamily="18" charset="0"/>
                <a:cs typeface="Times New Roman" panose="02020603050405020304" pitchFamily="18" charset="0"/>
                <a:hlinkClick r:id="rId8"/>
              </a:rPr>
              <a:t>http</a:t>
            </a:r>
            <a:r>
              <a:rPr lang="en-US" sz="1800" u="sng" dirty="0">
                <a:solidFill>
                  <a:srgbClr val="0000FF"/>
                </a:solidFill>
                <a:ea typeface="Times New Roman" panose="02020603050405020304" pitchFamily="18" charset="0"/>
                <a:cs typeface="Times New Roman" panose="02020603050405020304" pitchFamily="18" charset="0"/>
                <a:hlinkClick r:id="rId8"/>
              </a:rPr>
              <a:t>://</a:t>
            </a:r>
            <a:r>
              <a:rPr lang="en-US" sz="1800" u="sng" dirty="0" smtClean="0">
                <a:solidFill>
                  <a:srgbClr val="0000FF"/>
                </a:solidFill>
                <a:ea typeface="Times New Roman" panose="02020603050405020304" pitchFamily="18" charset="0"/>
                <a:cs typeface="Times New Roman" panose="02020603050405020304" pitchFamily="18" charset="0"/>
                <a:hlinkClick r:id="rId8"/>
              </a:rPr>
              <a:t>hydro.arcgis.com/arcgis/servic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7160055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679163" y="3381632"/>
            <a:ext cx="3906694" cy="3393462"/>
          </a:xfrm>
          <a:prstGeom prst="rect">
            <a:avLst/>
          </a:prstGeom>
        </p:spPr>
      </p:pic>
      <p:sp>
        <p:nvSpPr>
          <p:cNvPr id="2" name="Title 1"/>
          <p:cNvSpPr>
            <a:spLocks noGrp="1"/>
          </p:cNvSpPr>
          <p:nvPr>
            <p:ph type="title"/>
          </p:nvPr>
        </p:nvSpPr>
        <p:spPr/>
        <p:txBody>
          <a:bodyPr>
            <a:normAutofit fontScale="90000"/>
          </a:bodyPr>
          <a:lstStyle/>
          <a:p>
            <a:r>
              <a:rPr lang="en-US" dirty="0" smtClean="0"/>
              <a:t>ArcGIS Services are Accessed through Catalog</a:t>
            </a:r>
            <a:endParaRPr lang="en-US" dirty="0"/>
          </a:p>
        </p:txBody>
      </p:sp>
      <p:pic>
        <p:nvPicPr>
          <p:cNvPr id="5" name="Picture 4"/>
          <p:cNvPicPr>
            <a:picLocks noChangeAspect="1"/>
          </p:cNvPicPr>
          <p:nvPr/>
        </p:nvPicPr>
        <p:blipFill>
          <a:blip r:embed="rId3"/>
          <a:stretch>
            <a:fillRect/>
          </a:stretch>
        </p:blipFill>
        <p:spPr>
          <a:xfrm>
            <a:off x="4738253" y="3380309"/>
            <a:ext cx="3897409" cy="3385397"/>
          </a:xfrm>
          <a:prstGeom prst="rect">
            <a:avLst/>
          </a:prstGeom>
        </p:spPr>
      </p:pic>
      <p:pic>
        <p:nvPicPr>
          <p:cNvPr id="6" name="Picture 5"/>
          <p:cNvPicPr>
            <a:picLocks noChangeAspect="1"/>
          </p:cNvPicPr>
          <p:nvPr/>
        </p:nvPicPr>
        <p:blipFill>
          <a:blip r:embed="rId4"/>
          <a:stretch>
            <a:fillRect/>
          </a:stretch>
        </p:blipFill>
        <p:spPr>
          <a:xfrm>
            <a:off x="2996622" y="1533127"/>
            <a:ext cx="2781300" cy="1609725"/>
          </a:xfrm>
          <a:prstGeom prst="rect">
            <a:avLst/>
          </a:prstGeom>
        </p:spPr>
      </p:pic>
      <p:cxnSp>
        <p:nvCxnSpPr>
          <p:cNvPr id="8" name="Straight Arrow Connector 7"/>
          <p:cNvCxnSpPr/>
          <p:nvPr/>
        </p:nvCxnSpPr>
        <p:spPr>
          <a:xfrm flipH="1">
            <a:off x="2701492" y="1776691"/>
            <a:ext cx="836034" cy="159555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4352852" y="3916218"/>
            <a:ext cx="1503003" cy="24014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4387272" y="2602236"/>
            <a:ext cx="1763713" cy="77807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75719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vation Service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444" y="2148992"/>
            <a:ext cx="3278956" cy="2292804"/>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3505200"/>
            <a:ext cx="5216523" cy="2524124"/>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6963" y="1371600"/>
            <a:ext cx="5486400" cy="181927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8980591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Map Services</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752600"/>
            <a:ext cx="3133493"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1295400"/>
            <a:ext cx="4433571" cy="293705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cxnSp>
        <p:nvCxnSpPr>
          <p:cNvPr id="4" name="Straight Arrow Connector 3"/>
          <p:cNvCxnSpPr/>
          <p:nvPr/>
        </p:nvCxnSpPr>
        <p:spPr>
          <a:xfrm>
            <a:off x="2057400" y="5486400"/>
            <a:ext cx="321452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1928" y="4506191"/>
            <a:ext cx="2576514" cy="2115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Arrow Connector 9"/>
          <p:cNvCxnSpPr/>
          <p:nvPr/>
        </p:nvCxnSpPr>
        <p:spPr>
          <a:xfrm flipV="1">
            <a:off x="2514600" y="3657600"/>
            <a:ext cx="18288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14151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ract the </a:t>
            </a:r>
            <a:r>
              <a:rPr lang="en-US" dirty="0" err="1" smtClean="0"/>
              <a:t>NHDPlus</a:t>
            </a:r>
            <a:r>
              <a:rPr lang="en-US" dirty="0" smtClean="0"/>
              <a:t> </a:t>
            </a:r>
            <a:r>
              <a:rPr lang="en-US" dirty="0" err="1" smtClean="0"/>
              <a:t>Flowline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2057400"/>
            <a:ext cx="3381375" cy="55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2828636"/>
            <a:ext cx="6315075" cy="3191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0137" y="1761259"/>
            <a:ext cx="3362325" cy="87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371696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levation Profile of the Blanco River</a:t>
            </a:r>
            <a:endParaRPr lang="en-US" dirty="0"/>
          </a:p>
        </p:txBody>
      </p:sp>
      <p:graphicFrame>
        <p:nvGraphicFramePr>
          <p:cNvPr id="3" name="Chart 2"/>
          <p:cNvGraphicFramePr>
            <a:graphicFrameLocks/>
          </p:cNvGraphicFramePr>
          <p:nvPr>
            <p:extLst/>
          </p:nvPr>
        </p:nvGraphicFramePr>
        <p:xfrm>
          <a:off x="4267200" y="1447800"/>
          <a:ext cx="4572000" cy="2743200"/>
        </p:xfrm>
        <a:graphic>
          <a:graphicData uri="http://schemas.openxmlformats.org/drawingml/2006/chart">
            <c:chart xmlns:c="http://schemas.openxmlformats.org/drawingml/2006/chart" xmlns:r="http://schemas.openxmlformats.org/officeDocument/2006/relationships" r:id="rId2"/>
          </a:graphicData>
        </a:graphic>
      </p:graphicFrame>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4191000"/>
            <a:ext cx="4057650" cy="2102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288" y="1219200"/>
            <a:ext cx="2854171" cy="1143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p:nvPr/>
        </p:nvCxnSpPr>
        <p:spPr>
          <a:xfrm>
            <a:off x="2012156" y="2337689"/>
            <a:ext cx="65217" cy="2531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288" y="2590800"/>
            <a:ext cx="3400425" cy="138112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300" y="4267200"/>
            <a:ext cx="3695700" cy="237172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cxnSp>
        <p:nvCxnSpPr>
          <p:cNvPr id="13" name="Straight Arrow Connector 12"/>
          <p:cNvCxnSpPr/>
          <p:nvPr/>
        </p:nvCxnSpPr>
        <p:spPr>
          <a:xfrm>
            <a:off x="2209800" y="3281362"/>
            <a:ext cx="173308" cy="9516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600825" y="2370905"/>
            <a:ext cx="1380506"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Slope = 0.2%</a:t>
            </a:r>
            <a:endParaRPr lang="en-US" sz="1800" dirty="0">
              <a:solidFill>
                <a:prstClr val="black"/>
              </a:solidFill>
              <a:latin typeface="Calibri"/>
            </a:endParaRPr>
          </a:p>
        </p:txBody>
      </p:sp>
    </p:spTree>
    <p:extLst>
      <p:ext uri="{BB962C8B-B14F-4D97-AF65-F5344CB8AC3E}">
        <p14:creationId xmlns:p14="http://schemas.microsoft.com/office/powerpoint/2010/main" val="22303860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1145" y="64808"/>
            <a:ext cx="7772400" cy="708890"/>
          </a:xfrm>
        </p:spPr>
        <p:txBody>
          <a:bodyPr/>
          <a:lstStyle/>
          <a:p>
            <a:r>
              <a:rPr lang="en-US" dirty="0" smtClean="0"/>
              <a:t>The National Map</a:t>
            </a:r>
            <a:endParaRPr lang="en-US" dirty="0"/>
          </a:p>
        </p:txBody>
      </p:sp>
      <p:pic>
        <p:nvPicPr>
          <p:cNvPr id="6" name="Picture 5"/>
          <p:cNvPicPr>
            <a:picLocks noChangeAspect="1"/>
          </p:cNvPicPr>
          <p:nvPr/>
        </p:nvPicPr>
        <p:blipFill>
          <a:blip r:embed="rId2"/>
          <a:stretch>
            <a:fillRect/>
          </a:stretch>
        </p:blipFill>
        <p:spPr>
          <a:xfrm>
            <a:off x="532246" y="1235363"/>
            <a:ext cx="7782660" cy="4884016"/>
          </a:xfrm>
          <a:prstGeom prst="rect">
            <a:avLst/>
          </a:prstGeom>
        </p:spPr>
      </p:pic>
      <p:sp>
        <p:nvSpPr>
          <p:cNvPr id="7" name="Rectangle 6"/>
          <p:cNvSpPr/>
          <p:nvPr/>
        </p:nvSpPr>
        <p:spPr>
          <a:xfrm>
            <a:off x="3000041" y="653683"/>
            <a:ext cx="3014608" cy="461665"/>
          </a:xfrm>
          <a:prstGeom prst="rect">
            <a:avLst/>
          </a:prstGeom>
        </p:spPr>
        <p:txBody>
          <a:bodyPr wrap="none">
            <a:spAutoFit/>
          </a:bodyPr>
          <a:lstStyle/>
          <a:p>
            <a:r>
              <a:rPr lang="en-US" u="sng" spc="-15" dirty="0">
                <a:solidFill>
                  <a:srgbClr val="0000FF"/>
                </a:solidFill>
                <a:ea typeface="Times New Roman" panose="02020603050405020304" pitchFamily="18" charset="0"/>
                <a:hlinkClick r:id="rId3"/>
              </a:rPr>
              <a:t>http://nationalmap.gov/</a:t>
            </a:r>
            <a:endParaRPr lang="en-US" dirty="0"/>
          </a:p>
        </p:txBody>
      </p:sp>
      <p:sp>
        <p:nvSpPr>
          <p:cNvPr id="8" name="Rectangle 7"/>
          <p:cNvSpPr/>
          <p:nvPr/>
        </p:nvSpPr>
        <p:spPr>
          <a:xfrm>
            <a:off x="263235" y="6165545"/>
            <a:ext cx="8557491" cy="461665"/>
          </a:xfrm>
          <a:prstGeom prst="rect">
            <a:avLst/>
          </a:prstGeom>
        </p:spPr>
        <p:txBody>
          <a:bodyPr wrap="square">
            <a:spAutoFit/>
          </a:bodyPr>
          <a:lstStyle/>
          <a:p>
            <a:pPr algn="ctr"/>
            <a:r>
              <a:rPr lang="en-US" dirty="0">
                <a:ea typeface="Times New Roman" panose="02020603050405020304" pitchFamily="18" charset="0"/>
              </a:rPr>
              <a:t>A</a:t>
            </a:r>
            <a:r>
              <a:rPr lang="en-US" spc="-20" dirty="0">
                <a:ea typeface="Times New Roman" panose="02020603050405020304" pitchFamily="18" charset="0"/>
              </a:rPr>
              <a:t> </a:t>
            </a:r>
            <a:r>
              <a:rPr lang="en-US" spc="-5" dirty="0">
                <a:ea typeface="Times New Roman" panose="02020603050405020304" pitchFamily="18" charset="0"/>
              </a:rPr>
              <a:t>c</a:t>
            </a:r>
            <a:r>
              <a:rPr lang="en-US" spc="20" dirty="0">
                <a:ea typeface="Times New Roman" panose="02020603050405020304" pitchFamily="18" charset="0"/>
              </a:rPr>
              <a:t>e</a:t>
            </a:r>
            <a:r>
              <a:rPr lang="en-US" spc="-20" dirty="0">
                <a:ea typeface="Times New Roman" panose="02020603050405020304" pitchFamily="18" charset="0"/>
              </a:rPr>
              <a:t>n</a:t>
            </a:r>
            <a:r>
              <a:rPr lang="en-US" spc="25" dirty="0">
                <a:ea typeface="Times New Roman" panose="02020603050405020304" pitchFamily="18" charset="0"/>
              </a:rPr>
              <a:t>t</a:t>
            </a:r>
            <a:r>
              <a:rPr lang="en-US" spc="10" dirty="0">
                <a:ea typeface="Times New Roman" panose="02020603050405020304" pitchFamily="18" charset="0"/>
              </a:rPr>
              <a:t>r</a:t>
            </a:r>
            <a:r>
              <a:rPr lang="en-US" spc="20" dirty="0">
                <a:ea typeface="Times New Roman" panose="02020603050405020304" pitchFamily="18" charset="0"/>
              </a:rPr>
              <a:t>a</a:t>
            </a:r>
            <a:r>
              <a:rPr lang="en-US" dirty="0">
                <a:ea typeface="Times New Roman" panose="02020603050405020304" pitchFamily="18" charset="0"/>
              </a:rPr>
              <a:t>l</a:t>
            </a:r>
            <a:r>
              <a:rPr lang="en-US" spc="-35" dirty="0">
                <a:ea typeface="Times New Roman" panose="02020603050405020304" pitchFamily="18" charset="0"/>
              </a:rPr>
              <a:t> </a:t>
            </a:r>
            <a:r>
              <a:rPr lang="en-US" spc="-10" dirty="0">
                <a:ea typeface="Times New Roman" panose="02020603050405020304" pitchFamily="18" charset="0"/>
              </a:rPr>
              <a:t>s</a:t>
            </a:r>
            <a:r>
              <a:rPr lang="en-US" spc="25" dirty="0">
                <a:ea typeface="Times New Roman" panose="02020603050405020304" pitchFamily="18" charset="0"/>
              </a:rPr>
              <a:t>o</a:t>
            </a:r>
            <a:r>
              <a:rPr lang="en-US" dirty="0">
                <a:ea typeface="Times New Roman" panose="02020603050405020304" pitchFamily="18" charset="0"/>
              </a:rPr>
              <a:t>u</a:t>
            </a:r>
            <a:r>
              <a:rPr lang="en-US" spc="10" dirty="0">
                <a:ea typeface="Times New Roman" panose="02020603050405020304" pitchFamily="18" charset="0"/>
              </a:rPr>
              <a:t>r</a:t>
            </a:r>
            <a:r>
              <a:rPr lang="en-US" spc="-5" dirty="0">
                <a:ea typeface="Times New Roman" panose="02020603050405020304" pitchFamily="18" charset="0"/>
              </a:rPr>
              <a:t>c</a:t>
            </a:r>
            <a:r>
              <a:rPr lang="en-US" dirty="0">
                <a:ea typeface="Times New Roman" panose="02020603050405020304" pitchFamily="18" charset="0"/>
              </a:rPr>
              <a:t>e</a:t>
            </a:r>
            <a:r>
              <a:rPr lang="en-US" spc="5" dirty="0">
                <a:ea typeface="Times New Roman" panose="02020603050405020304" pitchFamily="18" charset="0"/>
              </a:rPr>
              <a:t> </a:t>
            </a:r>
            <a:r>
              <a:rPr lang="en-US" spc="-45" dirty="0">
                <a:ea typeface="Times New Roman" panose="02020603050405020304" pitchFamily="18" charset="0"/>
              </a:rPr>
              <a:t>f</a:t>
            </a:r>
            <a:r>
              <a:rPr lang="en-US" spc="25" dirty="0">
                <a:ea typeface="Times New Roman" panose="02020603050405020304" pitchFamily="18" charset="0"/>
              </a:rPr>
              <a:t>o</a:t>
            </a:r>
            <a:r>
              <a:rPr lang="en-US" dirty="0">
                <a:ea typeface="Times New Roman" panose="02020603050405020304" pitchFamily="18" charset="0"/>
              </a:rPr>
              <a:t>r</a:t>
            </a:r>
            <a:r>
              <a:rPr lang="en-US" spc="20" dirty="0">
                <a:ea typeface="Times New Roman" panose="02020603050405020304" pitchFamily="18" charset="0"/>
              </a:rPr>
              <a:t> </a:t>
            </a:r>
            <a:r>
              <a:rPr lang="en-US" dirty="0">
                <a:ea typeface="Times New Roman" panose="02020603050405020304" pitchFamily="18" charset="0"/>
              </a:rPr>
              <a:t>US</a:t>
            </a:r>
            <a:r>
              <a:rPr lang="en-US" spc="-5" dirty="0">
                <a:ea typeface="Times New Roman" panose="02020603050405020304" pitchFamily="18" charset="0"/>
              </a:rPr>
              <a:t> </a:t>
            </a:r>
            <a:r>
              <a:rPr lang="en-US" spc="-25" dirty="0">
                <a:ea typeface="Times New Roman" panose="02020603050405020304" pitchFamily="18" charset="0"/>
              </a:rPr>
              <a:t>G</a:t>
            </a:r>
            <a:r>
              <a:rPr lang="en-US" spc="25" dirty="0">
                <a:ea typeface="Times New Roman" panose="02020603050405020304" pitchFamily="18" charset="0"/>
              </a:rPr>
              <a:t>o</a:t>
            </a:r>
            <a:r>
              <a:rPr lang="en-US" spc="-25" dirty="0">
                <a:ea typeface="Times New Roman" panose="02020603050405020304" pitchFamily="18" charset="0"/>
              </a:rPr>
              <a:t>v</a:t>
            </a:r>
            <a:r>
              <a:rPr lang="en-US" spc="-5" dirty="0">
                <a:ea typeface="Times New Roman" panose="02020603050405020304" pitchFamily="18" charset="0"/>
              </a:rPr>
              <a:t>e</a:t>
            </a:r>
            <a:r>
              <a:rPr lang="en-US" spc="10" dirty="0">
                <a:ea typeface="Times New Roman" panose="02020603050405020304" pitchFamily="18" charset="0"/>
              </a:rPr>
              <a:t>r</a:t>
            </a:r>
            <a:r>
              <a:rPr lang="en-US" dirty="0">
                <a:ea typeface="Times New Roman" panose="02020603050405020304" pitchFamily="18" charset="0"/>
              </a:rPr>
              <a:t>n</a:t>
            </a:r>
            <a:r>
              <a:rPr lang="en-US" spc="-30" dirty="0">
                <a:ea typeface="Times New Roman" panose="02020603050405020304" pitchFamily="18" charset="0"/>
              </a:rPr>
              <a:t>m</a:t>
            </a:r>
            <a:r>
              <a:rPr lang="en-US" spc="20" dirty="0">
                <a:ea typeface="Times New Roman" panose="02020603050405020304" pitchFamily="18" charset="0"/>
              </a:rPr>
              <a:t>e</a:t>
            </a:r>
            <a:r>
              <a:rPr lang="en-US" spc="-25" dirty="0">
                <a:ea typeface="Times New Roman" panose="02020603050405020304" pitchFamily="18" charset="0"/>
              </a:rPr>
              <a:t>n</a:t>
            </a:r>
            <a:r>
              <a:rPr lang="en-US" dirty="0">
                <a:ea typeface="Times New Roman" panose="02020603050405020304" pitchFamily="18" charset="0"/>
              </a:rPr>
              <a:t>t</a:t>
            </a:r>
            <a:r>
              <a:rPr lang="en-US" spc="40" dirty="0">
                <a:ea typeface="Times New Roman" panose="02020603050405020304" pitchFamily="18" charset="0"/>
              </a:rPr>
              <a:t> </a:t>
            </a:r>
            <a:r>
              <a:rPr lang="en-US" dirty="0">
                <a:ea typeface="Times New Roman" panose="02020603050405020304" pitchFamily="18" charset="0"/>
              </a:rPr>
              <a:t>d</a:t>
            </a:r>
            <a:r>
              <a:rPr lang="en-US" spc="-5" dirty="0">
                <a:ea typeface="Times New Roman" panose="02020603050405020304" pitchFamily="18" charset="0"/>
              </a:rPr>
              <a:t>a</a:t>
            </a:r>
            <a:r>
              <a:rPr lang="en-US" spc="25" dirty="0">
                <a:ea typeface="Times New Roman" panose="02020603050405020304" pitchFamily="18" charset="0"/>
              </a:rPr>
              <a:t>t</a:t>
            </a:r>
            <a:r>
              <a:rPr lang="en-US" spc="-30" dirty="0">
                <a:ea typeface="Times New Roman" panose="02020603050405020304" pitchFamily="18" charset="0"/>
              </a:rPr>
              <a:t>a</a:t>
            </a:r>
            <a:endParaRPr lang="en-US" dirty="0"/>
          </a:p>
        </p:txBody>
      </p:sp>
      <p:sp>
        <p:nvSpPr>
          <p:cNvPr id="9" name="Rectangle 8"/>
          <p:cNvSpPr/>
          <p:nvPr/>
        </p:nvSpPr>
        <p:spPr>
          <a:xfrm>
            <a:off x="621145" y="4027055"/>
            <a:ext cx="1420091" cy="1662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621145" y="3686607"/>
            <a:ext cx="1420091" cy="1662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833456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457200" y="1209964"/>
            <a:ext cx="8229600" cy="4916199"/>
          </a:xfrm>
        </p:spPr>
        <p:txBody>
          <a:bodyPr>
            <a:normAutofit lnSpcReduction="10000"/>
          </a:bodyPr>
          <a:lstStyle/>
          <a:p>
            <a:r>
              <a:rPr lang="en-US" dirty="0" smtClean="0"/>
              <a:t>There are a plethora of data sources available</a:t>
            </a:r>
          </a:p>
          <a:p>
            <a:r>
              <a:rPr lang="en-US" dirty="0" smtClean="0"/>
              <a:t>Knowing what is available is important to scope GIS analyses and projects</a:t>
            </a:r>
          </a:p>
          <a:p>
            <a:r>
              <a:rPr lang="en-US" dirty="0" smtClean="0"/>
              <a:t>GIS is about creating knowledge, telling </a:t>
            </a:r>
            <a:r>
              <a:rPr lang="en-US" dirty="0"/>
              <a:t>stories, making decisions – all involve </a:t>
            </a:r>
            <a:r>
              <a:rPr lang="en-US" dirty="0">
                <a:solidFill>
                  <a:srgbClr val="FF0000"/>
                </a:solidFill>
              </a:rPr>
              <a:t>integrating information from multiple sources</a:t>
            </a:r>
          </a:p>
          <a:p>
            <a:r>
              <a:rPr lang="en-US" dirty="0"/>
              <a:t>The way that data is organized can enhance or inhibit the analyses that can be done</a:t>
            </a:r>
          </a:p>
          <a:p>
            <a:r>
              <a:rPr lang="en-US" dirty="0"/>
              <a:t>Data dissemination is increasingly becoming service based </a:t>
            </a:r>
          </a:p>
        </p:txBody>
      </p:sp>
    </p:spTree>
    <p:extLst>
      <p:ext uri="{BB962C8B-B14F-4D97-AF65-F5344CB8AC3E}">
        <p14:creationId xmlns:p14="http://schemas.microsoft.com/office/powerpoint/2010/main" val="6668819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rm paper suggestions</a:t>
            </a:r>
            <a:endParaRPr lang="en-US" dirty="0"/>
          </a:p>
        </p:txBody>
      </p:sp>
      <p:sp>
        <p:nvSpPr>
          <p:cNvPr id="3" name="Content Placeholder 2"/>
          <p:cNvSpPr>
            <a:spLocks noGrp="1"/>
          </p:cNvSpPr>
          <p:nvPr>
            <p:ph idx="1"/>
          </p:nvPr>
        </p:nvSpPr>
        <p:spPr/>
        <p:txBody>
          <a:bodyPr/>
          <a:lstStyle/>
          <a:p>
            <a:r>
              <a:rPr lang="en-US" dirty="0" smtClean="0"/>
              <a:t>Your own research</a:t>
            </a:r>
          </a:p>
          <a:p>
            <a:r>
              <a:rPr lang="en-US" dirty="0" smtClean="0"/>
              <a:t>An integration of information from multiple sources to address a problem or question of interest</a:t>
            </a:r>
          </a:p>
          <a:p>
            <a:r>
              <a:rPr lang="en-US" dirty="0" smtClean="0"/>
              <a:t>A tool for doing something in GIS (python programming)</a:t>
            </a:r>
          </a:p>
          <a:p>
            <a:r>
              <a:rPr lang="en-US" dirty="0" smtClean="0"/>
              <a:t>A map or dataset in ArcGIS online</a:t>
            </a:r>
            <a:endParaRPr lang="en-US" dirty="0"/>
          </a:p>
        </p:txBody>
      </p:sp>
    </p:spTree>
    <p:extLst>
      <p:ext uri="{BB962C8B-B14F-4D97-AF65-F5344CB8AC3E}">
        <p14:creationId xmlns:p14="http://schemas.microsoft.com/office/powerpoint/2010/main" val="41944383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29673"/>
          </a:xfrm>
        </p:spPr>
        <p:txBody>
          <a:bodyPr>
            <a:normAutofit fontScale="90000"/>
          </a:bodyPr>
          <a:lstStyle/>
          <a:p>
            <a:r>
              <a:rPr lang="en-US" dirty="0" smtClean="0"/>
              <a:t>Term paper suggestions continued</a:t>
            </a:r>
            <a:endParaRPr lang="en-US" dirty="0"/>
          </a:p>
        </p:txBody>
      </p:sp>
      <p:sp>
        <p:nvSpPr>
          <p:cNvPr id="3" name="Content Placeholder 2"/>
          <p:cNvSpPr>
            <a:spLocks noGrp="1"/>
          </p:cNvSpPr>
          <p:nvPr>
            <p:ph idx="1"/>
          </p:nvPr>
        </p:nvSpPr>
        <p:spPr>
          <a:xfrm>
            <a:off x="457200" y="729672"/>
            <a:ext cx="8229600" cy="5920509"/>
          </a:xfrm>
        </p:spPr>
        <p:txBody>
          <a:bodyPr>
            <a:normAutofit fontScale="55000" lnSpcReduction="20000"/>
          </a:bodyPr>
          <a:lstStyle/>
          <a:p>
            <a:r>
              <a:rPr lang="en-US" dirty="0" smtClean="0"/>
              <a:t>An examination of land cover change </a:t>
            </a:r>
          </a:p>
          <a:p>
            <a:pPr lvl="1"/>
            <a:r>
              <a:rPr lang="en-US" dirty="0" smtClean="0"/>
              <a:t>Deforestation</a:t>
            </a:r>
          </a:p>
          <a:p>
            <a:pPr lvl="1"/>
            <a:r>
              <a:rPr lang="en-US" dirty="0" smtClean="0"/>
              <a:t>Urban reforestation</a:t>
            </a:r>
          </a:p>
          <a:p>
            <a:pPr lvl="1"/>
            <a:r>
              <a:rPr lang="en-US" dirty="0" smtClean="0"/>
              <a:t>Impact of change on the water system</a:t>
            </a:r>
          </a:p>
          <a:p>
            <a:r>
              <a:rPr lang="en-US" dirty="0" smtClean="0"/>
              <a:t>Flood plain mapping</a:t>
            </a:r>
          </a:p>
          <a:p>
            <a:pPr lvl="1"/>
            <a:r>
              <a:rPr lang="en-US" dirty="0" smtClean="0"/>
              <a:t>Examination of alternatives and changes to reduce flooding (impervious areas, obstructions) (NC Flood Maps)</a:t>
            </a:r>
          </a:p>
          <a:p>
            <a:r>
              <a:rPr lang="en-US" dirty="0" smtClean="0"/>
              <a:t>Prioritize watershed restoration (river restoration and upland changes) (</a:t>
            </a:r>
            <a:r>
              <a:rPr lang="en-US" dirty="0" err="1" smtClean="0"/>
              <a:t>EnviroAtlas</a:t>
            </a:r>
            <a:r>
              <a:rPr lang="en-US" dirty="0" smtClean="0"/>
              <a:t> and NC specific sources)</a:t>
            </a:r>
          </a:p>
          <a:p>
            <a:pPr lvl="1"/>
            <a:r>
              <a:rPr lang="en-US" dirty="0" smtClean="0"/>
              <a:t>NC DENR project to prioritize HUC 12s within each HUC8 for mitigation</a:t>
            </a:r>
          </a:p>
          <a:p>
            <a:pPr lvl="1"/>
            <a:r>
              <a:rPr lang="en-US" dirty="0" smtClean="0"/>
              <a:t>Mitigation bankers, conservation organizations</a:t>
            </a:r>
          </a:p>
          <a:p>
            <a:pPr lvl="1"/>
            <a:r>
              <a:rPr lang="en-US" dirty="0" smtClean="0"/>
              <a:t>Based on length of degraded streams</a:t>
            </a:r>
          </a:p>
          <a:p>
            <a:pPr lvl="1"/>
            <a:r>
              <a:rPr lang="en-US" dirty="0" smtClean="0"/>
              <a:t>Impervious surface area</a:t>
            </a:r>
          </a:p>
          <a:p>
            <a:pPr lvl="1"/>
            <a:r>
              <a:rPr lang="en-US" dirty="0" smtClean="0"/>
              <a:t>Other ecosystem services (heat island, carbon sequestration)</a:t>
            </a:r>
          </a:p>
          <a:p>
            <a:pPr lvl="1"/>
            <a:r>
              <a:rPr lang="en-US" dirty="0" smtClean="0"/>
              <a:t>Composite weight</a:t>
            </a:r>
          </a:p>
          <a:p>
            <a:pPr lvl="1"/>
            <a:r>
              <a:rPr lang="en-US" dirty="0" smtClean="0"/>
              <a:t>Examine </a:t>
            </a:r>
            <a:r>
              <a:rPr lang="en-US" dirty="0"/>
              <a:t>sensitivity to change </a:t>
            </a:r>
            <a:r>
              <a:rPr lang="en-US" dirty="0" smtClean="0"/>
              <a:t>using models (SWAT, </a:t>
            </a:r>
            <a:r>
              <a:rPr lang="en-US" dirty="0" err="1" smtClean="0"/>
              <a:t>RHESSys</a:t>
            </a:r>
            <a:r>
              <a:rPr lang="en-US" dirty="0" smtClean="0"/>
              <a:t>)  </a:t>
            </a:r>
          </a:p>
          <a:p>
            <a:r>
              <a:rPr lang="en-US" dirty="0" smtClean="0"/>
              <a:t>Riparian buffers</a:t>
            </a:r>
          </a:p>
          <a:p>
            <a:pPr lvl="1"/>
            <a:r>
              <a:rPr lang="en-US" dirty="0" smtClean="0"/>
              <a:t>An examination of land use and land cover in riparian buffer and mapping the quality of buffer and length of flow through buffer.  TauDEM has some buffer flow length functions that could be used.  </a:t>
            </a:r>
          </a:p>
          <a:p>
            <a:r>
              <a:rPr lang="en-US" dirty="0" smtClean="0"/>
              <a:t>Terrain stability analysis</a:t>
            </a:r>
          </a:p>
          <a:p>
            <a:pPr lvl="1"/>
            <a:r>
              <a:rPr lang="en-US" dirty="0" smtClean="0"/>
              <a:t>Based on DEM Slope, contributing area – e.g. SINMAP</a:t>
            </a:r>
          </a:p>
          <a:p>
            <a:r>
              <a:rPr lang="en-US" dirty="0" smtClean="0"/>
              <a:t>Stream bank stability analysis</a:t>
            </a:r>
          </a:p>
          <a:p>
            <a:pPr lvl="1"/>
            <a:r>
              <a:rPr lang="en-US" dirty="0" smtClean="0"/>
              <a:t>Based on flow, slope and channel conditions (NC Flood maps)</a:t>
            </a:r>
          </a:p>
          <a:p>
            <a:pPr lvl="1"/>
            <a:endParaRPr lang="en-US" dirty="0" smtClean="0"/>
          </a:p>
          <a:p>
            <a:endParaRPr lang="en-US" dirty="0"/>
          </a:p>
        </p:txBody>
      </p:sp>
    </p:spTree>
    <p:extLst>
      <p:ext uri="{BB962C8B-B14F-4D97-AF65-F5344CB8AC3E}">
        <p14:creationId xmlns:p14="http://schemas.microsoft.com/office/powerpoint/2010/main" val="2187122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Image2"/>
          <p:cNvPicPr>
            <a:picLocks noChangeAspect="1" noChangeArrowheads="1"/>
          </p:cNvPicPr>
          <p:nvPr/>
        </p:nvPicPr>
        <p:blipFill>
          <a:blip r:embed="rId2" cstate="print"/>
          <a:srcRect/>
          <a:stretch>
            <a:fillRect/>
          </a:stretch>
        </p:blipFill>
        <p:spPr bwMode="auto">
          <a:xfrm>
            <a:off x="3124200" y="2362200"/>
            <a:ext cx="4629150" cy="3751263"/>
          </a:xfrm>
          <a:prstGeom prst="rect">
            <a:avLst/>
          </a:prstGeom>
          <a:noFill/>
          <a:ln w="9525">
            <a:noFill/>
            <a:miter lim="800000"/>
            <a:headEnd/>
            <a:tailEnd/>
          </a:ln>
        </p:spPr>
      </p:pic>
      <p:pic>
        <p:nvPicPr>
          <p:cNvPr id="15363" name="Picture 3" descr="nhd_banner_420"/>
          <p:cNvPicPr>
            <a:picLocks noChangeAspect="1" noChangeArrowheads="1"/>
          </p:cNvPicPr>
          <p:nvPr/>
        </p:nvPicPr>
        <p:blipFill>
          <a:blip r:embed="rId3" cstate="print"/>
          <a:srcRect/>
          <a:stretch>
            <a:fillRect/>
          </a:stretch>
        </p:blipFill>
        <p:spPr bwMode="auto">
          <a:xfrm>
            <a:off x="1817688" y="520700"/>
            <a:ext cx="5334000" cy="1663700"/>
          </a:xfrm>
          <a:prstGeom prst="rect">
            <a:avLst/>
          </a:prstGeom>
          <a:noFill/>
          <a:ln w="9525">
            <a:noFill/>
            <a:miter lim="800000"/>
            <a:headEnd/>
            <a:tailEnd/>
          </a:ln>
        </p:spPr>
      </p:pic>
      <p:sp>
        <p:nvSpPr>
          <p:cNvPr id="15364" name="Text Box 4"/>
          <p:cNvSpPr txBox="1">
            <a:spLocks noChangeArrowheads="1"/>
          </p:cNvSpPr>
          <p:nvPr/>
        </p:nvSpPr>
        <p:spPr bwMode="auto">
          <a:xfrm>
            <a:off x="650875" y="3265488"/>
            <a:ext cx="2438400" cy="1187450"/>
          </a:xfrm>
          <a:prstGeom prst="rect">
            <a:avLst/>
          </a:prstGeom>
          <a:noFill/>
          <a:ln w="9525">
            <a:noFill/>
            <a:miter lim="800000"/>
            <a:headEnd/>
            <a:tailEnd/>
          </a:ln>
        </p:spPr>
        <p:txBody>
          <a:bodyPr>
            <a:spAutoFit/>
          </a:bodyPr>
          <a:lstStyle/>
          <a:p>
            <a:r>
              <a:rPr lang="en-US" dirty="0"/>
              <a:t>River networks</a:t>
            </a:r>
          </a:p>
          <a:p>
            <a:r>
              <a:rPr lang="en-US" dirty="0"/>
              <a:t>for 8-digit HUC </a:t>
            </a:r>
          </a:p>
          <a:p>
            <a:r>
              <a:rPr lang="en-US" dirty="0"/>
              <a:t>watersheds</a:t>
            </a:r>
          </a:p>
        </p:txBody>
      </p:sp>
      <p:sp>
        <p:nvSpPr>
          <p:cNvPr id="15365" name="Rectangle 6"/>
          <p:cNvSpPr>
            <a:spLocks noChangeArrowheads="1"/>
          </p:cNvSpPr>
          <p:nvPr/>
        </p:nvSpPr>
        <p:spPr bwMode="auto">
          <a:xfrm>
            <a:off x="838200" y="5867400"/>
            <a:ext cx="2704587" cy="461665"/>
          </a:xfrm>
          <a:prstGeom prst="rect">
            <a:avLst/>
          </a:prstGeom>
          <a:noFill/>
          <a:ln w="9525">
            <a:noFill/>
            <a:miter lim="800000"/>
            <a:headEnd/>
            <a:tailEnd/>
          </a:ln>
        </p:spPr>
        <p:txBody>
          <a:bodyPr wrap="none">
            <a:spAutoFit/>
          </a:bodyPr>
          <a:lstStyle/>
          <a:p>
            <a:r>
              <a:rPr lang="en-US" dirty="0">
                <a:solidFill>
                  <a:schemeClr val="accent2"/>
                </a:solidFill>
                <a:hlinkClick r:id="rId4"/>
              </a:rPr>
              <a:t>http://nhd.usgs.gov</a:t>
            </a:r>
            <a:r>
              <a:rPr lang="en-US" dirty="0" smtClean="0">
                <a:solidFill>
                  <a:schemeClr val="accent2"/>
                </a:solidFill>
                <a:hlinkClick r:id="rId4"/>
              </a:rPr>
              <a:t>/</a:t>
            </a:r>
            <a:r>
              <a:rPr lang="en-US" dirty="0" smtClean="0">
                <a:solidFill>
                  <a:schemeClr val="accent2"/>
                </a:solidFill>
              </a:rPr>
              <a:t> </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image003"/>
          <p:cNvPicPr>
            <a:picLocks noChangeAspect="1" noChangeArrowheads="1"/>
          </p:cNvPicPr>
          <p:nvPr/>
        </p:nvPicPr>
        <p:blipFill>
          <a:blip r:embed="rId2" cstate="print"/>
          <a:srcRect/>
          <a:stretch>
            <a:fillRect/>
          </a:stretch>
        </p:blipFill>
        <p:spPr bwMode="auto">
          <a:xfrm>
            <a:off x="762000" y="2514600"/>
            <a:ext cx="7689850" cy="3586163"/>
          </a:xfrm>
          <a:prstGeom prst="rect">
            <a:avLst/>
          </a:prstGeom>
          <a:noFill/>
          <a:ln w="9525">
            <a:noFill/>
            <a:miter lim="800000"/>
            <a:headEnd/>
            <a:tailEnd/>
          </a:ln>
        </p:spPr>
      </p:pic>
      <p:pic>
        <p:nvPicPr>
          <p:cNvPr id="16387" name="Picture 3" descr="nhd_banner_420"/>
          <p:cNvPicPr>
            <a:picLocks noChangeAspect="1" noChangeArrowheads="1"/>
          </p:cNvPicPr>
          <p:nvPr/>
        </p:nvPicPr>
        <p:blipFill>
          <a:blip r:embed="rId3" cstate="print"/>
          <a:srcRect/>
          <a:stretch>
            <a:fillRect/>
          </a:stretch>
        </p:blipFill>
        <p:spPr bwMode="auto">
          <a:xfrm>
            <a:off x="1935163" y="663575"/>
            <a:ext cx="5334000" cy="1663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Custom 1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33CC"/>
      </a:hlink>
      <a:folHlink>
        <a:srgbClr val="3333CC"/>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roplet">
  <a:themeElements>
    <a:clrScheme name="Droplet">
      <a:dk1>
        <a:sysClr val="windowText" lastClr="000000"/>
      </a:dk1>
      <a:lt1>
        <a:sysClr val="window" lastClr="FFFFFF"/>
      </a:lt1>
      <a:dk2>
        <a:srgbClr val="1C647B"/>
      </a:dk2>
      <a:lt2>
        <a:srgbClr val="98B7D3"/>
      </a:lt2>
      <a:accent1>
        <a:srgbClr val="274FA4"/>
      </a:accent1>
      <a:accent2>
        <a:srgbClr val="48A8D0"/>
      </a:accent2>
      <a:accent3>
        <a:srgbClr val="53B18F"/>
      </a:accent3>
      <a:accent4>
        <a:srgbClr val="D78D38"/>
      </a:accent4>
      <a:accent5>
        <a:srgbClr val="BA3F51"/>
      </a:accent5>
      <a:accent6>
        <a:srgbClr val="AE52D9"/>
      </a:accent6>
      <a:hlink>
        <a:srgbClr val="2AA2DA"/>
      </a:hlink>
      <a:folHlink>
        <a:srgbClr val="76A3B8"/>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92000"/>
                <a:satMod val="180000"/>
                <a:lumMod val="114000"/>
              </a:schemeClr>
            </a:gs>
            <a:gs pos="100000">
              <a:schemeClr val="phClr">
                <a:shade val="92000"/>
                <a:satMod val="170000"/>
                <a:lumMod val="96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DEB094D4-7FD8-4F86-93D5-B0F1341EF5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10</TotalTime>
  <Words>1508</Words>
  <Application>Microsoft Office PowerPoint</Application>
  <PresentationFormat>On-screen Show (4:3)</PresentationFormat>
  <Paragraphs>303</Paragraphs>
  <Slides>72</Slides>
  <Notes>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72</vt:i4>
      </vt:variant>
    </vt:vector>
  </HeadingPairs>
  <TitlesOfParts>
    <vt:vector size="85" baseType="lpstr">
      <vt:lpstr>Arial</vt:lpstr>
      <vt:lpstr>Calibri</vt:lpstr>
      <vt:lpstr>Segoe</vt:lpstr>
      <vt:lpstr>Segoe UI</vt:lpstr>
      <vt:lpstr>Segoe UI Light</vt:lpstr>
      <vt:lpstr>Segoe UI Semibold</vt:lpstr>
      <vt:lpstr>Times New Roman</vt:lpstr>
      <vt:lpstr>Tw Cen MT</vt:lpstr>
      <vt:lpstr>Default Design</vt:lpstr>
      <vt:lpstr>Droplet</vt:lpstr>
      <vt:lpstr>Office Theme</vt:lpstr>
      <vt:lpstr>think-cell Slide</vt:lpstr>
      <vt:lpstr>Bitmap Image</vt:lpstr>
      <vt:lpstr>Data Sources for GIS in Water Resources  by David R. Maidment, and David G. Tarboton   GIS in Water Resources Fall 2014</vt:lpstr>
      <vt:lpstr>Outline</vt:lpstr>
      <vt:lpstr>Water Resources Regions of the US </vt:lpstr>
      <vt:lpstr>Watershed Hierarchy</vt:lpstr>
      <vt:lpstr>Hydrologic Unit Code Watersheds</vt:lpstr>
      <vt:lpstr>Watershed Boundary Dataset</vt:lpstr>
      <vt:lpstr>The National Map</vt:lpstr>
      <vt:lpstr>PowerPoint Presentation</vt:lpstr>
      <vt:lpstr>PowerPoint Presentation</vt:lpstr>
      <vt:lpstr>PowerPoint Presentation</vt:lpstr>
      <vt:lpstr>River Reach Codes Used for river address locations</vt:lpstr>
      <vt:lpstr>National Elevation Dataset</vt:lpstr>
      <vt:lpstr>National Elevation Dataset Availability</vt:lpstr>
      <vt:lpstr>Digital Elevation Model (DEM)</vt:lpstr>
      <vt:lpstr>PowerPoint Presentation</vt:lpstr>
      <vt:lpstr>Austin West 30 Meter DEM</vt:lpstr>
      <vt:lpstr>PowerPoint Presentation</vt:lpstr>
      <vt:lpstr>Flow Direction Grid</vt:lpstr>
      <vt:lpstr>Delineation of Streams and Watersheds on a DEM </vt:lpstr>
      <vt:lpstr>PowerPoint Presentation</vt:lpstr>
      <vt:lpstr>HydroSheds derived from SRTM</vt:lpstr>
      <vt:lpstr>PowerPoint Presentation</vt:lpstr>
      <vt:lpstr>GTOPO30 - 1 km Digital Elevation Model of the Earth</vt:lpstr>
      <vt:lpstr>Drainage in North America</vt:lpstr>
      <vt:lpstr>Soil Data</vt:lpstr>
      <vt:lpstr>PowerPoint Presentation</vt:lpstr>
      <vt:lpstr>PowerPoint Presentation</vt:lpstr>
      <vt:lpstr>Ssurgo for Travis County</vt:lpstr>
      <vt:lpstr>PowerPoint Presentation</vt:lpstr>
      <vt:lpstr>National Land Cover Dataset</vt:lpstr>
      <vt:lpstr>PowerPoint Presentation</vt:lpstr>
      <vt:lpstr>PowerPoint Presentation</vt:lpstr>
      <vt:lpstr>www.climate.gov </vt:lpstr>
      <vt:lpstr>PowerPoint Presentation</vt:lpstr>
      <vt:lpstr>PRISM Mean Annual Precipitation (Oregon State U.)</vt:lpstr>
      <vt:lpstr>National Water Information System</vt:lpstr>
      <vt:lpstr>USGS Water Watch</vt:lpstr>
      <vt:lpstr>USGS National Water Information System.</vt:lpstr>
      <vt:lpstr>http://water.weather.gov/ahps/ </vt:lpstr>
      <vt:lpstr>http://water.weather.gov/ahps/ </vt:lpstr>
      <vt:lpstr>http://enviroatlas.epa.gov/enviroatlas/ </vt:lpstr>
      <vt:lpstr>EnviroAtlas</vt:lpstr>
      <vt:lpstr>PowerPoint Presentation</vt:lpstr>
      <vt:lpstr>PowerPoint Presentation</vt:lpstr>
      <vt:lpstr>USU Doc Daniels SNOTEL Site</vt:lpstr>
      <vt:lpstr>Measuring SWE</vt:lpstr>
      <vt:lpstr>http://www.cbrfc.noaa.gov </vt:lpstr>
      <vt:lpstr>CBRFC SNOTEL Ensemble</vt:lpstr>
      <vt:lpstr>PowerPoint Presentation</vt:lpstr>
      <vt:lpstr>TWDB http://www.twdb.state.tx.us/mapping/gisdata.asp</vt:lpstr>
      <vt:lpstr>http://gis.utah.gov </vt:lpstr>
      <vt:lpstr>Utah Terrain Basemap</vt:lpstr>
      <vt:lpstr>PowerPoint Presentation</vt:lpstr>
      <vt:lpstr>PowerPoint Presentation</vt:lpstr>
      <vt:lpstr>PowerPoint Presentation</vt:lpstr>
      <vt:lpstr>Bear River Watershed</vt:lpstr>
      <vt:lpstr>Great Salt Lake Info System</vt:lpstr>
      <vt:lpstr>http://www.nconemap.com/ </vt:lpstr>
      <vt:lpstr>http://www.ncfloodmaps.com/ </vt:lpstr>
      <vt:lpstr>What is Cloud Computing? Following Slides are from Dr Kristin Tolle, Microsoft Research Connections</vt:lpstr>
      <vt:lpstr>Global Footprint</vt:lpstr>
      <vt:lpstr>Microsoft’s Data Center Evolution</vt:lpstr>
      <vt:lpstr>ArcGIS Online: Maps about the Earth</vt:lpstr>
      <vt:lpstr>ArcGIS Online Services</vt:lpstr>
      <vt:lpstr>ArcGIS Services are Accessed through Catalog</vt:lpstr>
      <vt:lpstr>Elevation Services</vt:lpstr>
      <vt:lpstr>Dynamic Map Services</vt:lpstr>
      <vt:lpstr>Extract the NHDPlus Flowlines</vt:lpstr>
      <vt:lpstr>Elevation Profile of the Blanco River</vt:lpstr>
      <vt:lpstr>Summary</vt:lpstr>
      <vt:lpstr>Term paper suggestions</vt:lpstr>
      <vt:lpstr>Term paper suggestions continued</vt:lpstr>
    </vt:vector>
  </TitlesOfParts>
  <Company>Center for Research in Water Resour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Hydro Data Programs</dc:title>
  <dc:creator>David R. Maidment</dc:creator>
  <cp:lastModifiedBy>David Tarboton</cp:lastModifiedBy>
  <cp:revision>202</cp:revision>
  <cp:lastPrinted>2014-09-09T14:11:24Z</cp:lastPrinted>
  <dcterms:created xsi:type="dcterms:W3CDTF">2001-09-11T16:12:13Z</dcterms:created>
  <dcterms:modified xsi:type="dcterms:W3CDTF">2014-09-09T15:06:17Z</dcterms:modified>
</cp:coreProperties>
</file>